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10" r:id="rId1"/>
    <p:sldMasterId id="2147484122" r:id="rId2"/>
    <p:sldMasterId id="2147484170" r:id="rId3"/>
    <p:sldMasterId id="2147484182" r:id="rId4"/>
  </p:sldMasterIdLst>
  <p:notesMasterIdLst>
    <p:notesMasterId r:id="rId13"/>
  </p:notesMasterIdLst>
  <p:sldIdLst>
    <p:sldId id="256" r:id="rId5"/>
    <p:sldId id="1305" r:id="rId6"/>
    <p:sldId id="1603" r:id="rId7"/>
    <p:sldId id="1605" r:id="rId8"/>
    <p:sldId id="1604" r:id="rId9"/>
    <p:sldId id="1606" r:id="rId10"/>
    <p:sldId id="476" r:id="rId11"/>
    <p:sldId id="1501" r:id="rId12"/>
  </p:sldIdLst>
  <p:sldSz cx="12192000" cy="6858000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0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A3E"/>
    <a:srgbClr val="424AF4"/>
    <a:srgbClr val="F711EC"/>
    <a:srgbClr val="0000CC"/>
    <a:srgbClr val="EC8014"/>
    <a:srgbClr val="FF0000"/>
    <a:srgbClr val="FFFF00"/>
    <a:srgbClr val="F9F927"/>
    <a:srgbClr val="007033"/>
    <a:srgbClr val="283F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96" autoAdjust="0"/>
    <p:restoredTop sz="93992" autoAdjust="0"/>
  </p:normalViewPr>
  <p:slideViewPr>
    <p:cSldViewPr snapToGrid="0">
      <p:cViewPr varScale="1">
        <p:scale>
          <a:sx n="78" d="100"/>
          <a:sy n="78" d="100"/>
        </p:scale>
        <p:origin x="114" y="564"/>
      </p:cViewPr>
      <p:guideLst>
        <p:guide orient="horz" pos="2160"/>
        <p:guide pos="20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0A5D09-C081-4A71-9E91-517340F131F2}" type="datetimeFigureOut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D1C1E2-6CA9-437F-A80C-3739DC710526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33370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B210F-4BE7-44D4-96F7-601A16F51A52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38470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BD1A4-F98C-476C-84DB-1B780CBEC98F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34925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0366"/>
            <a:ext cx="7734300" cy="5811837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DF21A-D640-4A99-A54F-24A3C2645CB2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82471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10948416" y="2788920"/>
            <a:ext cx="1243584" cy="1005840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2130552"/>
            <a:ext cx="11277600" cy="914400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 bwMode="gray">
          <a:xfrm>
            <a:off x="3328416" y="0"/>
            <a:ext cx="2279904" cy="235915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0"/>
            <a:ext cx="3718560" cy="2359152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0832" y="3118109"/>
            <a:ext cx="10375392" cy="1470025"/>
          </a:xfrm>
        </p:spPr>
        <p:txBody>
          <a:bodyPr vert="horz" lIns="91440" tIns="45720" rIns="91440" bIns="45720" rtlCol="0" anchor="t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US" sz="48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2359152"/>
            <a:ext cx="10948416" cy="685800"/>
          </a:xfr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  <a:defRPr lang="en-US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클릭하여 마스터 부제목 스타일 편집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B4F9E-3452-43E1-88B5-776281F0F879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737973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E39667-226A-4F92-B365-3FA9CE3246AF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51726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728" y="3044952"/>
            <a:ext cx="6254496" cy="74066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C64CC-289C-4515-B905-14AB3CC1FABE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7" name="Rectangle 6"/>
          <p:cNvSpPr/>
          <p:nvPr/>
        </p:nvSpPr>
        <p:spPr bwMode="gray">
          <a:xfrm>
            <a:off x="10948416" y="2788920"/>
            <a:ext cx="1243584" cy="1005840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2130552"/>
            <a:ext cx="11277600" cy="914400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 bwMode="gray">
          <a:xfrm>
            <a:off x="3328416" y="0"/>
            <a:ext cx="2279904" cy="235915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0"/>
            <a:ext cx="3718560" cy="267004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3813048"/>
            <a:ext cx="10363200" cy="1143000"/>
          </a:xfrm>
        </p:spPr>
        <p:txBody>
          <a:bodyPr vert="horz" lIns="91440" tIns="45720" rIns="91440" bIns="45720" rtlCol="0" anchor="ctr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US" sz="4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2607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7802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7802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96260-9DCA-40B1-8000-87AB29D0B51D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612004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627632"/>
            <a:ext cx="5386917" cy="639762"/>
          </a:xfrm>
        </p:spPr>
        <p:txBody>
          <a:bodyPr vert="horz" lIns="91440" tIns="45720" rIns="91440" bIns="45720" rtlCol="0" anchor="b">
            <a:normAutofit/>
          </a:bodyPr>
          <a:lstStyle>
            <a:lvl1pPr marL="0" indent="0">
              <a:buNone/>
              <a:defRPr lang="en-US" sz="2400" b="1" kern="1200" cap="none" spc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86000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193370" y="1627632"/>
            <a:ext cx="5389033" cy="639762"/>
          </a:xfrm>
        </p:spPr>
        <p:txBody>
          <a:bodyPr vert="horz" lIns="91440" tIns="45720" rIns="91440" bIns="45720" rtlCol="0" anchor="b">
            <a:normAutofit/>
          </a:bodyPr>
          <a:lstStyle>
            <a:lvl1pPr marL="0" indent="0">
              <a:buNone/>
              <a:defRPr lang="en-US" sz="2400" b="1" kern="1200" cap="none" spc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286000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56600-4134-4878-B837-536AAA857E2D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90970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501384"/>
            <a:ext cx="12192000" cy="356616"/>
          </a:xfrm>
          <a:prstGeom prst="rect">
            <a:avLst/>
          </a:prstGeom>
          <a:solidFill>
            <a:schemeClr val="accent6">
              <a:lumMod val="60000"/>
              <a:lumOff val="4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Rectangle 6"/>
          <p:cNvSpPr/>
          <p:nvPr/>
        </p:nvSpPr>
        <p:spPr bwMode="gray">
          <a:xfrm>
            <a:off x="0" y="0"/>
            <a:ext cx="12192000" cy="301752"/>
          </a:xfrm>
          <a:prstGeom prst="rect">
            <a:avLst/>
          </a:prstGeom>
          <a:solidFill>
            <a:schemeClr val="accent5">
              <a:lumMod val="60000"/>
              <a:lumOff val="4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0"/>
            <a:ext cx="3243072" cy="530352"/>
          </a:xfrm>
          <a:prstGeom prst="rect">
            <a:avLst/>
          </a:prstGeom>
          <a:solidFill>
            <a:schemeClr val="accent2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 bwMode="gray">
          <a:xfrm>
            <a:off x="1901952" y="0"/>
            <a:ext cx="2097024" cy="43891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5ED13-928A-4BA3-B49D-C246BAD171AD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91693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0" y="6501384"/>
            <a:ext cx="12192000" cy="356616"/>
          </a:xfrm>
          <a:prstGeom prst="rect">
            <a:avLst/>
          </a:prstGeom>
          <a:solidFill>
            <a:schemeClr val="accent6">
              <a:lumMod val="60000"/>
              <a:lumOff val="4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Rectangle 11"/>
          <p:cNvSpPr/>
          <p:nvPr/>
        </p:nvSpPr>
        <p:spPr bwMode="gray">
          <a:xfrm>
            <a:off x="0" y="0"/>
            <a:ext cx="12192000" cy="301752"/>
          </a:xfrm>
          <a:prstGeom prst="rect">
            <a:avLst/>
          </a:prstGeom>
          <a:solidFill>
            <a:schemeClr val="accent5">
              <a:lumMod val="60000"/>
              <a:lumOff val="4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Rectangle 12"/>
          <p:cNvSpPr/>
          <p:nvPr/>
        </p:nvSpPr>
        <p:spPr bwMode="gray">
          <a:xfrm>
            <a:off x="0" y="0"/>
            <a:ext cx="402336" cy="6858000"/>
          </a:xfrm>
          <a:prstGeom prst="rect">
            <a:avLst/>
          </a:prstGeom>
          <a:solidFill>
            <a:srgbClr val="9BBB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0"/>
            <a:ext cx="3243072" cy="530352"/>
          </a:xfrm>
          <a:prstGeom prst="rect">
            <a:avLst/>
          </a:prstGeom>
          <a:solidFill>
            <a:schemeClr val="accent2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1901952" y="0"/>
            <a:ext cx="2097024" cy="43891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Rectangle 15"/>
          <p:cNvSpPr/>
          <p:nvPr/>
        </p:nvSpPr>
        <p:spPr bwMode="gray">
          <a:xfrm>
            <a:off x="11789664" y="0"/>
            <a:ext cx="402336" cy="6858000"/>
          </a:xfrm>
          <a:prstGeom prst="rect">
            <a:avLst/>
          </a:prstGeom>
          <a:solidFill>
            <a:srgbClr val="9BBB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A5EC1-ABD7-42AA-B302-9CB6167027E2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674291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548640"/>
            <a:ext cx="10265664" cy="932688"/>
          </a:xfr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07936" y="1645920"/>
            <a:ext cx="3755136" cy="4480560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562F6-E4BC-4CD0-B2D3-CB74B2BE2C38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45920"/>
            <a:ext cx="6400800" cy="4480560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6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913E0C-4F44-4597-9BA4-560970B43E78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737010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01824" y="658368"/>
            <a:ext cx="7315200" cy="822960"/>
          </a:xfr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2389632" y="1618488"/>
            <a:ext cx="7315200" cy="3639312"/>
          </a:xfrm>
          <a:solidFill>
            <a:srgbClr val="F8F8F8"/>
          </a:solidFill>
          <a:ln w="76200" cmpd="sng">
            <a:solidFill>
              <a:srgbClr val="FFFFFF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  <a:defRPr lang="en-US" sz="3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 dirty="0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632" y="5413248"/>
            <a:ext cx="7315200" cy="98755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005FF-F765-4584-A7F2-F8549E8E5ED2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819689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5"/>
            <a:ext cx="10257432" cy="4525963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786E7-4A2A-4764-96C5-AE923A1E8125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681788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 rot="5400000">
            <a:off x="7182612" y="2048256"/>
            <a:ext cx="6519672" cy="2414016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8737600" y="6135624"/>
            <a:ext cx="1316736" cy="722376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 bwMode="gray">
          <a:xfrm>
            <a:off x="11474908" y="1379355"/>
            <a:ext cx="719328" cy="1463040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1472672" y="0"/>
            <a:ext cx="719328" cy="182880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41536" y="274637"/>
            <a:ext cx="2231136" cy="5852160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436864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A17F4-2596-4F7F-9CD4-96BA1462859F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39979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04060-529F-4150-9552-8EAE274B3E59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7852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B659E-D653-41BF-ACB6-AC74B6C08713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1482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52637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D61C-8EFA-44A2-A0E2-EE019D2A9DCF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5552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3"/>
            <a:ext cx="5181600" cy="4351337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3"/>
            <a:ext cx="5181600" cy="4351337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7004A3-1D9D-458A-9590-2DA2B3D5B7B1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377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2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4"/>
            <a:ext cx="5156200" cy="3680525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7554"/>
            <a:ext cx="5181601" cy="3680525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04F7A-7998-4211-894F-DB61D2C31CD5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8475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A6C71-3015-48FC-BED3-2680BB75F59D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6191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E9063-8FD7-4E91-8CFF-7EA51AAA50C5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24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52637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C77FE-3092-4832-B274-E28BF94F8E4F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972961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4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9DBB3-FE5E-41F8-BCC4-E48DAF70AA2D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4527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 dirty="0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B874C-3B23-40D8-A7E2-93E91F8662FB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16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AF08-1698-422D-B487-888B301AB110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029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0366"/>
            <a:ext cx="7734300" cy="5811837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F9DC7-A335-4FE5-ADC3-5F13E0B00B82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4407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/>
          </p:nvPr>
        </p:nvSpPr>
        <p:spPr>
          <a:xfrm>
            <a:off x="665870" y="447290"/>
            <a:ext cx="11054473" cy="378245"/>
          </a:xfrm>
        </p:spPr>
        <p:txBody>
          <a:bodyPr/>
          <a:lstStyle>
            <a:lvl1pPr>
              <a:defRPr lang="ko-KR" altLang="en-US" sz="2458" kern="1200" spc="-16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893247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65870" y="1060095"/>
            <a:ext cx="11054473" cy="342868"/>
          </a:xfrm>
        </p:spPr>
        <p:txBody>
          <a:bodyPr/>
          <a:lstStyle>
            <a:lvl1pPr marL="279140" indent="-279140">
              <a:defRPr lang="ko-KR" altLang="en-US" sz="1638" b="0" kern="1200" spc="-25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519485" indent="-181407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472"/>
            </a:lvl2pPr>
            <a:lvl3pPr marL="502993" indent="-189653">
              <a:lnSpc>
                <a:spcPct val="120000"/>
              </a:lnSpc>
              <a:spcBef>
                <a:spcPts val="519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472">
                <a:solidFill>
                  <a:schemeClr val="tx1"/>
                </a:solidFill>
                <a:latin typeface="+mj-ea"/>
                <a:ea typeface="+mj-ea"/>
              </a:defRPr>
            </a:lvl3pPr>
            <a:lvl4pPr marL="783350" indent="-214391">
              <a:lnSpc>
                <a:spcPct val="120000"/>
              </a:lnSpc>
              <a:spcBef>
                <a:spcPts val="519"/>
              </a:spcBef>
              <a:spcAft>
                <a:spcPts val="173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212">
                <a:solidFill>
                  <a:schemeClr val="tx1"/>
                </a:solidFill>
                <a:latin typeface="+mn-ea"/>
                <a:ea typeface="+mn-ea"/>
              </a:defRPr>
            </a:lvl4pPr>
            <a:lvl5pPr marL="1071953" indent="-140178">
              <a:lnSpc>
                <a:spcPct val="120000"/>
              </a:lnSpc>
              <a:spcBef>
                <a:spcPts val="519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212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279140" lvl="0" indent="-279140" algn="l" defTabSz="893247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391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13" name="텍스트 개체 틀 12"/>
          <p:cNvSpPr>
            <a:spLocks noGrp="1"/>
          </p:cNvSpPr>
          <p:nvPr>
            <p:ph type="body" sz="quarter" idx="12"/>
          </p:nvPr>
        </p:nvSpPr>
        <p:spPr>
          <a:xfrm>
            <a:off x="584567" y="104230"/>
            <a:ext cx="7023345" cy="311663"/>
          </a:xfrm>
        </p:spPr>
        <p:txBody>
          <a:bodyPr/>
          <a:lstStyle>
            <a:lvl1pPr marL="0" indent="0">
              <a:buNone/>
              <a:defRPr sz="1731" b="1"/>
            </a:lvl1pPr>
          </a:lstStyle>
          <a:p>
            <a:endParaRPr lang="ko-KR" altLang="en-US"/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881200" y="6461294"/>
            <a:ext cx="429605" cy="15991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039" b="1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039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039" b="1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718222" y="6597719"/>
            <a:ext cx="975738" cy="1976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8338" tIns="38482" rIns="78338" bIns="38482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779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18889396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1" y="-1"/>
            <a:ext cx="12192000" cy="6858001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558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3934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949" y="0"/>
            <a:ext cx="6116632" cy="6858000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110611"/>
            <a:endParaRPr lang="ko-KR" altLang="en-US" sz="1446" b="1" kern="0" spc="-90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678611" y="2425691"/>
            <a:ext cx="944178" cy="74833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072" b="1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554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74014" y="696333"/>
            <a:ext cx="5321518" cy="369087"/>
          </a:xfrm>
          <a:prstGeom prst="rect">
            <a:avLst/>
          </a:prstGeom>
          <a:noFill/>
        </p:spPr>
        <p:txBody>
          <a:bodyPr wrap="square" lIns="89988" tIns="44995" rIns="89988" bIns="44995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1808" spc="-136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6110145" y="3578864"/>
            <a:ext cx="124110" cy="1215384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899629"/>
            <a:endParaRPr lang="ko-KR" altLang="en-US" sz="3976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352114"/>
            <a:ext cx="6234255" cy="141612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899629"/>
            <a:endParaRPr lang="ko-KR" altLang="en-US" sz="3976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651298" y="2400758"/>
            <a:ext cx="998804" cy="791625"/>
          </a:xfrm>
        </p:spPr>
        <p:txBody>
          <a:bodyPr anchor="ctr"/>
          <a:lstStyle>
            <a:lvl1pPr marL="0" indent="0" algn="ctr" defTabSz="471989" rtl="0" eaLnBrk="1" latinLnBrk="0" hangingPunct="1">
              <a:buNone/>
              <a:defRPr lang="ko-KR" altLang="en-US" sz="4155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471989" rtl="0" eaLnBrk="1" latinLnBrk="0" hangingPunct="1">
              <a:defRPr lang="ko-KR" altLang="en-US" sz="4519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3949" y="3359293"/>
            <a:ext cx="6234254" cy="1408949"/>
          </a:xfrm>
        </p:spPr>
        <p:txBody>
          <a:bodyPr anchor="ctr"/>
          <a:lstStyle>
            <a:lvl1pPr marL="0" indent="0" algn="ctr" defTabSz="899629" rtl="0" eaLnBrk="1" latinLnBrk="0" hangingPunct="1">
              <a:buNone/>
              <a:defRPr lang="ko-KR" altLang="en-US" sz="3463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471989" rtl="0" eaLnBrk="1" latinLnBrk="0" hangingPunct="1">
              <a:defRPr lang="ko-KR" altLang="en-US" sz="4519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73443" y="1065366"/>
            <a:ext cx="4628848" cy="7916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1731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1731" spc="-136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79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2191997" cy="3349582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110611"/>
            <a:endParaRPr lang="ko-KR" altLang="en-US" sz="1446" b="1" kern="0" spc="-90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623909" y="2425691"/>
            <a:ext cx="944178" cy="74833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072" b="1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554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949" y="696333"/>
            <a:ext cx="12195949" cy="369087"/>
          </a:xfrm>
          <a:prstGeom prst="rect">
            <a:avLst/>
          </a:prstGeom>
          <a:noFill/>
        </p:spPr>
        <p:txBody>
          <a:bodyPr wrap="square" lIns="89988" tIns="44995" rIns="89988" bIns="44995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1808" spc="-136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346336"/>
            <a:ext cx="12192000" cy="79073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899629"/>
            <a:endParaRPr lang="ko-KR" altLang="en-US" sz="3976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596596" y="2400758"/>
            <a:ext cx="998804" cy="791625"/>
          </a:xfrm>
        </p:spPr>
        <p:txBody>
          <a:bodyPr anchor="ctr"/>
          <a:lstStyle>
            <a:lvl1pPr marL="0" indent="0" algn="ctr" defTabSz="471989" rtl="0" eaLnBrk="1" latinLnBrk="0" hangingPunct="1">
              <a:buNone/>
              <a:defRPr lang="ko-KR" altLang="en-US" sz="4155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471989" rtl="0" eaLnBrk="1" latinLnBrk="0" hangingPunct="1">
              <a:defRPr lang="ko-KR" altLang="en-US" sz="4519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346336"/>
            <a:ext cx="12191999" cy="791625"/>
          </a:xfrm>
        </p:spPr>
        <p:txBody>
          <a:bodyPr anchor="ctr"/>
          <a:lstStyle>
            <a:lvl1pPr marL="0" indent="0" algn="ctr" defTabSz="899629" rtl="0" eaLnBrk="1" latinLnBrk="0" hangingPunct="1">
              <a:buNone/>
              <a:defRPr lang="ko-KR" altLang="en-US" sz="3463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471989" rtl="0" eaLnBrk="1" latinLnBrk="0" hangingPunct="1">
              <a:defRPr lang="ko-KR" altLang="en-US" sz="4519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951" y="1473462"/>
            <a:ext cx="12195948" cy="38352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1731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1731" spc="-136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718222" y="6597719"/>
            <a:ext cx="975738" cy="1976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8338" tIns="38482" rIns="78338" bIns="38482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779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31923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2191997" cy="3349582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110611"/>
            <a:endParaRPr lang="ko-KR" altLang="en-US" sz="1446" b="1" kern="0" spc="-90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623909" y="1741265"/>
            <a:ext cx="944178" cy="74833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072" b="1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3554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949" y="696333"/>
            <a:ext cx="12195949" cy="369087"/>
          </a:xfrm>
          <a:prstGeom prst="rect">
            <a:avLst/>
          </a:prstGeom>
          <a:noFill/>
        </p:spPr>
        <p:txBody>
          <a:bodyPr wrap="square" lIns="89988" tIns="44995" rIns="89988" bIns="44995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1808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1808" spc="-136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2851571"/>
            <a:ext cx="12192000" cy="79073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899629"/>
            <a:endParaRPr lang="ko-KR" altLang="en-US" sz="3976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596596" y="1716332"/>
            <a:ext cx="998804" cy="791625"/>
          </a:xfrm>
        </p:spPr>
        <p:txBody>
          <a:bodyPr anchor="ctr"/>
          <a:lstStyle>
            <a:lvl1pPr marL="0" indent="0" algn="ctr" defTabSz="471989" rtl="0" eaLnBrk="1" latinLnBrk="0" hangingPunct="1">
              <a:buNone/>
              <a:defRPr lang="ko-KR" altLang="en-US" sz="4155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471989" rtl="0" eaLnBrk="1" latinLnBrk="0" hangingPunct="1">
              <a:defRPr lang="ko-KR" altLang="en-US" sz="4519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2851570"/>
            <a:ext cx="12191999" cy="791625"/>
          </a:xfrm>
        </p:spPr>
        <p:txBody>
          <a:bodyPr anchor="ctr"/>
          <a:lstStyle>
            <a:lvl1pPr marL="0" indent="0" algn="ctr" defTabSz="899629" rtl="0" eaLnBrk="1" latinLnBrk="0" hangingPunct="1">
              <a:buNone/>
              <a:defRPr lang="ko-KR" altLang="en-US" sz="3463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471989" rtl="0" eaLnBrk="1" latinLnBrk="0" hangingPunct="1">
              <a:defRPr lang="ko-KR" altLang="en-US" sz="4519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471989" rtl="0" eaLnBrk="1" latinLnBrk="0" hangingPunct="1">
              <a:defRPr lang="ko-KR" altLang="en-US" sz="4519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951" y="1160111"/>
            <a:ext cx="12195948" cy="38352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1731" spc="-136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1731" spc="-136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718222" y="6597719"/>
            <a:ext cx="975738" cy="1976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8338" tIns="38482" rIns="78338" bIns="38482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779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3512994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718222" y="6597719"/>
            <a:ext cx="975738" cy="1976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8338" tIns="38482" rIns="78338" bIns="38482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779" baseline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Mainfidential</a:t>
            </a:r>
          </a:p>
        </p:txBody>
      </p:sp>
    </p:spTree>
    <p:extLst>
      <p:ext uri="{BB962C8B-B14F-4D97-AF65-F5344CB8AC3E}">
        <p14:creationId xmlns:p14="http://schemas.microsoft.com/office/powerpoint/2010/main" val="81487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3"/>
            <a:ext cx="5181600" cy="4351337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3"/>
            <a:ext cx="5181600" cy="4351337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A0031-5F9B-4E93-AB7E-C5FB78D1BCC7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31748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2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4"/>
            <a:ext cx="5156200" cy="3680525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7554"/>
            <a:ext cx="5181601" cy="3680525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9F88C-C974-4D09-859C-8961ED7D0CEE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482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23877-7B71-4D48-8AB2-91FF4A60A949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173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D819B-8A8F-4099-9140-E45C2DA39D6B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8104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4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838B1-4857-4D68-BB75-B7F91732ECF4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7913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 dirty="0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67823-4218-4543-96A2-7AE38738AAB3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9957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3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F82C67B-E61B-4562-B319-A71F1FCD2A30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12544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402336"/>
            <a:ext cx="11582400" cy="1097280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10887456" y="996696"/>
            <a:ext cx="1304544" cy="896112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 bwMode="gray">
          <a:xfrm>
            <a:off x="2377440" y="0"/>
            <a:ext cx="2596896" cy="539496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0"/>
            <a:ext cx="3243072" cy="53949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39496"/>
            <a:ext cx="10972800" cy="9601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537960"/>
            <a:ext cx="2844800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3FC99-54AB-40FF-A320-41AC5490ECC3}" type="datetime1">
              <a:rPr lang="ko-KR" altLang="en-US" smtClean="0"/>
              <a:t>2024-11-27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827264" y="6537960"/>
            <a:ext cx="3860800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ko-KR" dirty="0"/>
              <a:t>stm32f411 </a:t>
            </a:r>
            <a:r>
              <a:rPr lang="ko-KR" altLang="en-US" dirty="0"/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9536" y="6537960"/>
            <a:ext cx="2844800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A9EDDF-6611-4AB1-A273-10BE87E02A1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202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  <p:sldLayoutId id="2147484133" r:id="rId11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latinLnBrk="1" hangingPunct="1">
        <a:defRPr>
          <a:solidFill>
            <a:schemeClr val="tx2"/>
          </a:solidFill>
        </a:defRPr>
      </a:lvl2pPr>
      <a:lvl3pPr eaLnBrk="1" latinLnBrk="1" hangingPunct="1">
        <a:defRPr>
          <a:solidFill>
            <a:schemeClr val="tx2"/>
          </a:solidFill>
        </a:defRPr>
      </a:lvl3pPr>
      <a:lvl4pPr eaLnBrk="1" latinLnBrk="1" hangingPunct="1">
        <a:defRPr>
          <a:solidFill>
            <a:schemeClr val="tx2"/>
          </a:solidFill>
        </a:defRPr>
      </a:lvl4pPr>
      <a:lvl5pPr eaLnBrk="1" latinLnBrk="1" hangingPunct="1">
        <a:defRPr>
          <a:solidFill>
            <a:schemeClr val="tx2"/>
          </a:solidFill>
        </a:defRPr>
      </a:lvl5pPr>
      <a:lvl6pPr eaLnBrk="1" latinLnBrk="1" hangingPunct="1">
        <a:defRPr>
          <a:solidFill>
            <a:schemeClr val="tx2"/>
          </a:solidFill>
        </a:defRPr>
      </a:lvl6pPr>
      <a:lvl7pPr eaLnBrk="1" latinLnBrk="1" hangingPunct="1">
        <a:defRPr>
          <a:solidFill>
            <a:schemeClr val="tx2"/>
          </a:solidFill>
        </a:defRPr>
      </a:lvl7pPr>
      <a:lvl8pPr eaLnBrk="1" latinLnBrk="1" hangingPunct="1">
        <a:defRPr>
          <a:solidFill>
            <a:schemeClr val="tx2"/>
          </a:solidFill>
        </a:defRPr>
      </a:lvl8pPr>
      <a:lvl9pPr eaLnBrk="1" latinLnBrk="1" hangingPunct="1">
        <a:defRPr>
          <a:solidFill>
            <a:schemeClr val="tx2"/>
          </a:solidFill>
        </a:defRPr>
      </a:lvl9pPr>
    </p:titleStyle>
    <p:bodyStyle>
      <a:lvl1pPr marL="342900" indent="-342900" algn="l" defTabSz="914400" rtl="0" eaLnBrk="1" latinLnBrk="1" hangingPunct="1">
        <a:spcBef>
          <a:spcPct val="20000"/>
        </a:spcBef>
        <a:buClr>
          <a:schemeClr val="accent1"/>
        </a:buClr>
        <a:buSzPct val="90000"/>
        <a:buFont typeface="Wingdings 3" pitchFamily="18" charset="2"/>
        <a:buChar char="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Clr>
          <a:schemeClr val="accent2"/>
        </a:buClr>
        <a:buSzPct val="90000"/>
        <a:buFont typeface="Wingdings 3" pitchFamily="18" charset="2"/>
        <a:buChar char="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Clr>
          <a:schemeClr val="accent3"/>
        </a:buClr>
        <a:buSzPct val="90000"/>
        <a:buFont typeface="Wingdings 3" pitchFamily="18" charset="2"/>
        <a:buChar char="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Clr>
          <a:schemeClr val="accent4"/>
        </a:buClr>
        <a:buSzPct val="90000"/>
        <a:buFont typeface="Wingdings 3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Clr>
          <a:schemeClr val="accent5"/>
        </a:buClr>
        <a:buSzPct val="90000"/>
        <a:buFont typeface="Wingdings 3" pitchFamily="18" charset="2"/>
        <a:buChar char="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3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82C8122-B754-4599-BBB2-5C2383F5F82B}" type="datetime1">
              <a:rPr lang="ko-KR" alt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2024-11-27</a:t>
            </a:fld>
            <a:endParaRPr lang="ko-KR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ko-KR" dirty="0">
                <a:solidFill>
                  <a:prstClr val="black">
                    <a:lumMod val="65000"/>
                    <a:lumOff val="35000"/>
                  </a:prstClr>
                </a:solidFill>
              </a:rPr>
              <a:t>stm32f411 </a:t>
            </a:r>
            <a:r>
              <a:rPr lang="ko-KR" altLang="en-US" dirty="0">
                <a:solidFill>
                  <a:prstClr val="black">
                    <a:lumMod val="65000"/>
                    <a:lumOff val="35000"/>
                  </a:prstClr>
                </a:solidFill>
              </a:rPr>
              <a:t>부트로드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A9EDDF-6611-4AB1-A273-10BE87E02A15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2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" y="1375"/>
            <a:ext cx="12188532" cy="685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56419" y="1"/>
            <a:ext cx="49939" cy="817267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901" spc="-22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3247"/>
              <a:endParaRPr lang="ko-KR" altLang="en-US" sz="1720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66259" y="447291"/>
            <a:ext cx="11010439" cy="37824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893247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66259" y="1059655"/>
            <a:ext cx="11010439" cy="2960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79140" lvl="0" indent="-279140" algn="l" defTabSz="893247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391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9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630" y="6369238"/>
            <a:ext cx="1898222" cy="25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84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</p:sldLayoutIdLst>
  <p:hf hdr="0" ftr="0" dt="0"/>
  <p:txStyles>
    <p:titleStyle>
      <a:lvl1pPr algn="l" defTabSz="749054" rtl="0" eaLnBrk="1" latinLnBrk="1" hangingPunct="1">
        <a:lnSpc>
          <a:spcPct val="100000"/>
        </a:lnSpc>
        <a:spcBef>
          <a:spcPct val="0"/>
        </a:spcBef>
        <a:buNone/>
        <a:defRPr lang="ko-KR" altLang="en-US" sz="2458" b="1" kern="1200" spc="-16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279140" indent="-279140" algn="l" defTabSz="893247" rtl="0" eaLnBrk="1" latinLnBrk="1" hangingPunct="1">
        <a:lnSpc>
          <a:spcPct val="120000"/>
        </a:lnSpc>
        <a:spcBef>
          <a:spcPts val="0"/>
        </a:spcBef>
        <a:spcAft>
          <a:spcPts val="391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9"/>
        </a:buBlip>
        <a:defRPr lang="ko-KR" altLang="en-US" sz="1638" b="0" kern="1200" spc="-25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749054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311" b="1" kern="1200" spc="-25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749054" rtl="0" eaLnBrk="1" latinLnBrk="1" hangingPunct="1">
        <a:lnSpc>
          <a:spcPct val="110000"/>
        </a:lnSpc>
        <a:spcBef>
          <a:spcPts val="0"/>
        </a:spcBef>
        <a:buFontTx/>
        <a:buNone/>
        <a:defRPr sz="1638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749054" rtl="0" eaLnBrk="1" latinLnBrk="1" hangingPunct="1">
        <a:lnSpc>
          <a:spcPct val="110000"/>
        </a:lnSpc>
        <a:spcBef>
          <a:spcPts val="0"/>
        </a:spcBef>
        <a:buFontTx/>
        <a:buNone/>
        <a:defRPr sz="1475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749054" rtl="0" eaLnBrk="1" latinLnBrk="1" hangingPunct="1">
        <a:lnSpc>
          <a:spcPct val="110000"/>
        </a:lnSpc>
        <a:spcBef>
          <a:spcPts val="0"/>
        </a:spcBef>
        <a:buFontTx/>
        <a:buNone/>
        <a:defRPr sz="1475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059899" indent="-187263" algn="l" defTabSz="749054" rtl="0" eaLnBrk="1" latinLnBrk="1" hangingPunct="1">
        <a:lnSpc>
          <a:spcPct val="90000"/>
        </a:lnSpc>
        <a:spcBef>
          <a:spcPts val="410"/>
        </a:spcBef>
        <a:buFont typeface="Arial" panose="020B0604020202020204" pitchFamily="34" charset="0"/>
        <a:buChar char="•"/>
        <a:defRPr sz="1475" kern="1200">
          <a:solidFill>
            <a:schemeClr val="tx1"/>
          </a:solidFill>
          <a:latin typeface="+mn-lt"/>
          <a:ea typeface="+mn-ea"/>
          <a:cs typeface="+mn-cs"/>
        </a:defRPr>
      </a:lvl6pPr>
      <a:lvl7pPr marL="2434426" indent="-187263" algn="l" defTabSz="749054" rtl="0" eaLnBrk="1" latinLnBrk="1" hangingPunct="1">
        <a:lnSpc>
          <a:spcPct val="90000"/>
        </a:lnSpc>
        <a:spcBef>
          <a:spcPts val="410"/>
        </a:spcBef>
        <a:buFont typeface="Arial" panose="020B0604020202020204" pitchFamily="34" charset="0"/>
        <a:buChar char="•"/>
        <a:defRPr sz="1475" kern="1200">
          <a:solidFill>
            <a:schemeClr val="tx1"/>
          </a:solidFill>
          <a:latin typeface="+mn-lt"/>
          <a:ea typeface="+mn-ea"/>
          <a:cs typeface="+mn-cs"/>
        </a:defRPr>
      </a:lvl7pPr>
      <a:lvl8pPr marL="2808953" indent="-187263" algn="l" defTabSz="749054" rtl="0" eaLnBrk="1" latinLnBrk="1" hangingPunct="1">
        <a:lnSpc>
          <a:spcPct val="90000"/>
        </a:lnSpc>
        <a:spcBef>
          <a:spcPts val="410"/>
        </a:spcBef>
        <a:buFont typeface="Arial" panose="020B0604020202020204" pitchFamily="34" charset="0"/>
        <a:buChar char="•"/>
        <a:defRPr sz="1475" kern="1200">
          <a:solidFill>
            <a:schemeClr val="tx1"/>
          </a:solidFill>
          <a:latin typeface="+mn-lt"/>
          <a:ea typeface="+mn-ea"/>
          <a:cs typeface="+mn-cs"/>
        </a:defRPr>
      </a:lvl8pPr>
      <a:lvl9pPr marL="3183479" indent="-187263" algn="l" defTabSz="749054" rtl="0" eaLnBrk="1" latinLnBrk="1" hangingPunct="1">
        <a:lnSpc>
          <a:spcPct val="90000"/>
        </a:lnSpc>
        <a:spcBef>
          <a:spcPts val="410"/>
        </a:spcBef>
        <a:buFont typeface="Arial" panose="020B0604020202020204" pitchFamily="34" charset="0"/>
        <a:buChar char="•"/>
        <a:defRPr sz="14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1pPr>
      <a:lvl2pPr marL="374527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2pPr>
      <a:lvl3pPr marL="749054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3pPr>
      <a:lvl4pPr marL="1123582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4pPr>
      <a:lvl5pPr marL="1498109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5pPr>
      <a:lvl6pPr marL="1872635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6pPr>
      <a:lvl7pPr marL="2247162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7pPr>
      <a:lvl8pPr marL="2621689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8pPr>
      <a:lvl9pPr marL="2996216" algn="l" defTabSz="749054" rtl="0" eaLnBrk="1" latinLnBrk="1" hangingPunct="1">
        <a:defRPr sz="14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0" y="2233180"/>
            <a:ext cx="11220774" cy="795849"/>
          </a:xfrm>
        </p:spPr>
        <p:txBody>
          <a:bodyPr>
            <a:normAutofit fontScale="90000"/>
          </a:bodyPr>
          <a:lstStyle/>
          <a:p>
            <a:r>
              <a:rPr lang="en-US" altLang="ko-KR" dirty="0"/>
              <a:t>PWM_Fan_Controller_F429ZI</a:t>
            </a:r>
            <a:endParaRPr lang="ko-KR" altLang="en-US" dirty="0"/>
          </a:p>
        </p:txBody>
      </p:sp>
      <p:sp>
        <p:nvSpPr>
          <p:cNvPr id="5" name="부제목 2"/>
          <p:cNvSpPr txBox="1">
            <a:spLocks/>
          </p:cNvSpPr>
          <p:nvPr/>
        </p:nvSpPr>
        <p:spPr>
          <a:xfrm>
            <a:off x="1952394" y="3652458"/>
            <a:ext cx="9360977" cy="685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  <a:defRPr lang="en-US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 3" pitchFamily="18" charset="2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Clr>
                <a:schemeClr val="accent3"/>
              </a:buClr>
              <a:buSzPct val="90000"/>
              <a:buFont typeface="Wingdings 3" pitchFamily="18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Clr>
                <a:schemeClr val="accent4"/>
              </a:buClr>
              <a:buSzPct val="90000"/>
              <a:buFont typeface="Wingdings 3" pitchFamily="18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Clr>
                <a:schemeClr val="accent5"/>
              </a:buClr>
              <a:buSzPct val="90000"/>
              <a:buFont typeface="Wingdings 3" pitchFamily="18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3200" b="1" dirty="0">
                <a:solidFill>
                  <a:srgbClr val="424AF4"/>
                </a:solidFill>
              </a:rPr>
              <a:t>Nucleo-F429ZI </a:t>
            </a:r>
            <a:r>
              <a:rPr lang="ko-KR" altLang="en-US" sz="3200" b="1" dirty="0" err="1">
                <a:solidFill>
                  <a:srgbClr val="424AF4"/>
                </a:solidFill>
              </a:rPr>
              <a:t>핀맵</a:t>
            </a:r>
            <a:endParaRPr lang="en-US" altLang="ko-KR" sz="3200" dirty="0">
              <a:solidFill>
                <a:srgbClr val="424AF4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7366" y="4541791"/>
            <a:ext cx="4124325" cy="1704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342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0" y="-82061"/>
            <a:ext cx="12192000" cy="514795"/>
          </a:xfrm>
          <a:prstGeom prst="rect">
            <a:avLst/>
          </a:prstGeom>
          <a:solidFill>
            <a:srgbClr val="F711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6022" y="0"/>
            <a:ext cx="11939955" cy="432734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altLang="ko-KR" sz="2800" dirty="0">
                <a:solidFill>
                  <a:schemeClr val="bg1"/>
                </a:solidFill>
                <a:latin typeface="+mn-ea"/>
                <a:sym typeface="Wingdings" panose="05000000000000000000" pitchFamily="2" charset="2"/>
              </a:rPr>
              <a:t>**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A9EDDF-6611-4AB1-A273-10BE87E02A15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1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A8EC998-B644-450F-896F-361D6775C6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8F15E2-674A-43A5-B9D3-28D24A976080}"/>
              </a:ext>
            </a:extLst>
          </p:cNvPr>
          <p:cNvSpPr txBox="1"/>
          <p:nvPr/>
        </p:nvSpPr>
        <p:spPr>
          <a:xfrm>
            <a:off x="10560722" y="3263456"/>
            <a:ext cx="931817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D1_GRN</a:t>
            </a:r>
            <a:endParaRPr lang="ko-KR" altLang="en-US" sz="10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629DE9-BED3-45B4-BE91-C8FEF5750B0A}"/>
              </a:ext>
            </a:extLst>
          </p:cNvPr>
          <p:cNvSpPr txBox="1"/>
          <p:nvPr/>
        </p:nvSpPr>
        <p:spPr>
          <a:xfrm>
            <a:off x="1063629" y="2340706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D2_BLU</a:t>
            </a:r>
            <a:endParaRPr lang="ko-KR" altLang="en-US" sz="10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8AAF46-310E-41F4-A14B-741F40094869}"/>
              </a:ext>
            </a:extLst>
          </p:cNvPr>
          <p:cNvSpPr txBox="1"/>
          <p:nvPr/>
        </p:nvSpPr>
        <p:spPr>
          <a:xfrm>
            <a:off x="10560722" y="3611123"/>
            <a:ext cx="931817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r>
              <a:rPr lang="en-US" altLang="ko-KR" sz="1000"/>
              <a:t>TEST_BTN</a:t>
            </a:r>
            <a:endParaRPr lang="ko-KR" altLang="en-US" sz="10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09BC4C-C135-4885-9510-8E34544C8116}"/>
              </a:ext>
            </a:extLst>
          </p:cNvPr>
          <p:cNvSpPr txBox="1"/>
          <p:nvPr/>
        </p:nvSpPr>
        <p:spPr>
          <a:xfrm>
            <a:off x="1063629" y="2499711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USER_Btn</a:t>
            </a:r>
            <a:endParaRPr lang="ko-KR" altLang="en-US" sz="10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9E8DB4-CB70-47F2-B542-3E54CE549F61}"/>
              </a:ext>
            </a:extLst>
          </p:cNvPr>
          <p:cNvSpPr txBox="1"/>
          <p:nvPr/>
        </p:nvSpPr>
        <p:spPr>
          <a:xfrm>
            <a:off x="1063629" y="5101323"/>
            <a:ext cx="931818" cy="1538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INPUT_PSU2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5B7B48-63C0-467A-9F97-9CCDAD6D42B9}"/>
              </a:ext>
            </a:extLst>
          </p:cNvPr>
          <p:cNvSpPr txBox="1"/>
          <p:nvPr/>
        </p:nvSpPr>
        <p:spPr>
          <a:xfrm>
            <a:off x="1063629" y="5260328"/>
            <a:ext cx="931818" cy="1538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INPUT_PSU1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82E439-5310-49A4-A1F3-B85447105E7D}"/>
              </a:ext>
            </a:extLst>
          </p:cNvPr>
          <p:cNvSpPr txBox="1"/>
          <p:nvPr/>
        </p:nvSpPr>
        <p:spPr>
          <a:xfrm>
            <a:off x="10560722" y="835281"/>
            <a:ext cx="931817" cy="1538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INPUT_DP1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79CA40-7CBA-444C-B4C3-645001A85FAF}"/>
              </a:ext>
            </a:extLst>
          </p:cNvPr>
          <p:cNvSpPr txBox="1"/>
          <p:nvPr/>
        </p:nvSpPr>
        <p:spPr>
          <a:xfrm>
            <a:off x="10560722" y="3770128"/>
            <a:ext cx="931817" cy="1538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INPUT_DP2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C4EBE3-B4D9-4DFF-9D58-7A1810E54A28}"/>
              </a:ext>
            </a:extLst>
          </p:cNvPr>
          <p:cNvSpPr txBox="1"/>
          <p:nvPr/>
        </p:nvSpPr>
        <p:spPr>
          <a:xfrm>
            <a:off x="1063629" y="3809716"/>
            <a:ext cx="931818" cy="1538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INPUT_DP3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BC3C52-9C4E-46E5-8D39-AE76783F5018}"/>
              </a:ext>
            </a:extLst>
          </p:cNvPr>
          <p:cNvSpPr txBox="1"/>
          <p:nvPr/>
        </p:nvSpPr>
        <p:spPr>
          <a:xfrm>
            <a:off x="1063629" y="3963604"/>
            <a:ext cx="931818" cy="1538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INPUT_CHG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1E5AAF7-023C-4170-B010-B70F9ECF52BF}"/>
              </a:ext>
            </a:extLst>
          </p:cNvPr>
          <p:cNvSpPr txBox="1"/>
          <p:nvPr/>
        </p:nvSpPr>
        <p:spPr>
          <a:xfrm>
            <a:off x="1063629" y="5578446"/>
            <a:ext cx="931818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1_B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5C7919-815D-434B-A14F-51A925DC2504}"/>
              </a:ext>
            </a:extLst>
          </p:cNvPr>
          <p:cNvSpPr txBox="1"/>
          <p:nvPr/>
        </p:nvSpPr>
        <p:spPr>
          <a:xfrm>
            <a:off x="10560722" y="4271763"/>
            <a:ext cx="931817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1_C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0B5708-C5A6-47DD-A904-C306879F1CDD}"/>
              </a:ext>
            </a:extLst>
          </p:cNvPr>
          <p:cNvSpPr txBox="1"/>
          <p:nvPr/>
        </p:nvSpPr>
        <p:spPr>
          <a:xfrm>
            <a:off x="1063629" y="4430403"/>
            <a:ext cx="931818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1_D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D7738BA-B8AD-4080-BD58-EE5CCEE39BE2}"/>
              </a:ext>
            </a:extLst>
          </p:cNvPr>
          <p:cNvSpPr txBox="1"/>
          <p:nvPr/>
        </p:nvSpPr>
        <p:spPr>
          <a:xfrm>
            <a:off x="10560722" y="4434360"/>
            <a:ext cx="931817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2_A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180296A-667F-4EAA-A3CC-6A052BF45FCF}"/>
              </a:ext>
            </a:extLst>
          </p:cNvPr>
          <p:cNvSpPr txBox="1"/>
          <p:nvPr/>
        </p:nvSpPr>
        <p:spPr>
          <a:xfrm>
            <a:off x="10560722" y="4612235"/>
            <a:ext cx="931817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2_B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8BA2386-7F05-45BF-9294-B8B7D86417B8}"/>
              </a:ext>
            </a:extLst>
          </p:cNvPr>
          <p:cNvSpPr txBox="1"/>
          <p:nvPr/>
        </p:nvSpPr>
        <p:spPr>
          <a:xfrm>
            <a:off x="10560722" y="5538858"/>
            <a:ext cx="931817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2_C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7D627C-6EC7-45FA-9E83-819E8C5808D7}"/>
              </a:ext>
            </a:extLst>
          </p:cNvPr>
          <p:cNvSpPr txBox="1"/>
          <p:nvPr/>
        </p:nvSpPr>
        <p:spPr>
          <a:xfrm>
            <a:off x="1063629" y="4931864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TEMP_R</a:t>
            </a:r>
            <a:endParaRPr lang="ko-KR" altLang="en-US" sz="10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696B5C1-44AD-4593-BB3E-80DACEDF6263}"/>
              </a:ext>
            </a:extLst>
          </p:cNvPr>
          <p:cNvSpPr txBox="1"/>
          <p:nvPr/>
        </p:nvSpPr>
        <p:spPr>
          <a:xfrm>
            <a:off x="1063629" y="4782034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TEMP_G</a:t>
            </a:r>
            <a:endParaRPr lang="ko-KR" altLang="en-US" sz="10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F6DB290-82BC-4792-8B61-97934753FA85}"/>
              </a:ext>
            </a:extLst>
          </p:cNvPr>
          <p:cNvSpPr txBox="1"/>
          <p:nvPr/>
        </p:nvSpPr>
        <p:spPr>
          <a:xfrm>
            <a:off x="10560721" y="4772692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FAN1_R</a:t>
            </a:r>
            <a:endParaRPr lang="ko-KR" altLang="en-US" sz="10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7603EB7-25D8-4438-8566-03C22552AA42}"/>
              </a:ext>
            </a:extLst>
          </p:cNvPr>
          <p:cNvSpPr txBox="1"/>
          <p:nvPr/>
        </p:nvSpPr>
        <p:spPr>
          <a:xfrm>
            <a:off x="2139136" y="1318680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PSU_R</a:t>
            </a:r>
            <a:endParaRPr lang="ko-KR" altLang="en-US" sz="10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D280C4F-BC72-4C92-B34F-2D2939C626F1}"/>
              </a:ext>
            </a:extLst>
          </p:cNvPr>
          <p:cNvSpPr txBox="1"/>
          <p:nvPr/>
        </p:nvSpPr>
        <p:spPr>
          <a:xfrm>
            <a:off x="2139136" y="1472568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PSU_G</a:t>
            </a:r>
            <a:endParaRPr lang="ko-KR" altLang="en-US" sz="10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F67974-08A3-411E-981B-CC91E4049B92}"/>
              </a:ext>
            </a:extLst>
          </p:cNvPr>
          <p:cNvSpPr txBox="1"/>
          <p:nvPr/>
        </p:nvSpPr>
        <p:spPr>
          <a:xfrm>
            <a:off x="10560721" y="4955238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DP1_G</a:t>
            </a:r>
            <a:endParaRPr lang="ko-KR" altLang="en-US" sz="10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3A2259B-31B5-403C-9646-AAD22F33312D}"/>
              </a:ext>
            </a:extLst>
          </p:cNvPr>
          <p:cNvSpPr txBox="1"/>
          <p:nvPr/>
        </p:nvSpPr>
        <p:spPr>
          <a:xfrm>
            <a:off x="10560721" y="5106945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DP2_G</a:t>
            </a:r>
            <a:endParaRPr lang="ko-KR" altLang="en-US" sz="10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CE98264-7B6A-4A9C-8B17-EA857450F925}"/>
              </a:ext>
            </a:extLst>
          </p:cNvPr>
          <p:cNvSpPr txBox="1"/>
          <p:nvPr/>
        </p:nvSpPr>
        <p:spPr>
          <a:xfrm>
            <a:off x="10574181" y="2953395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ETH_REF_CLK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4C29061-8BDC-42E1-965F-81FE4E45B793}"/>
              </a:ext>
            </a:extLst>
          </p:cNvPr>
          <p:cNvSpPr txBox="1"/>
          <p:nvPr/>
        </p:nvSpPr>
        <p:spPr>
          <a:xfrm>
            <a:off x="10574181" y="6249061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ETH_TX_EN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518CF4C-E45D-4D2E-BAEB-765CEDF907B8}"/>
              </a:ext>
            </a:extLst>
          </p:cNvPr>
          <p:cNvSpPr txBox="1"/>
          <p:nvPr/>
        </p:nvSpPr>
        <p:spPr>
          <a:xfrm>
            <a:off x="10574181" y="6077797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ETH_TXD0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BD0E880-D108-4BBD-8287-458C452E2148}"/>
              </a:ext>
            </a:extLst>
          </p:cNvPr>
          <p:cNvSpPr txBox="1"/>
          <p:nvPr/>
        </p:nvSpPr>
        <p:spPr>
          <a:xfrm>
            <a:off x="10560016" y="2779925"/>
            <a:ext cx="1188323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TIM2_CH1_IC1</a:t>
            </a:r>
            <a:endParaRPr lang="ko-KR" altLang="en-US" sz="100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8E8D73B-5AE8-49EA-BCA3-6EB5B5211CEF}"/>
              </a:ext>
            </a:extLst>
          </p:cNvPr>
          <p:cNvSpPr txBox="1"/>
          <p:nvPr/>
        </p:nvSpPr>
        <p:spPr>
          <a:xfrm>
            <a:off x="10560721" y="3443586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ETH_MDC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F14FFC1-B53D-414C-8095-3F7D3F2A537D}"/>
              </a:ext>
            </a:extLst>
          </p:cNvPr>
          <p:cNvSpPr txBox="1"/>
          <p:nvPr/>
        </p:nvSpPr>
        <p:spPr>
          <a:xfrm>
            <a:off x="2139136" y="1651861"/>
            <a:ext cx="931818" cy="15388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SWDIO</a:t>
            </a:r>
            <a:endParaRPr lang="ko-KR" altLang="en-US" sz="100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5E6CEB1-9451-427C-9BFE-18166863D904}"/>
              </a:ext>
            </a:extLst>
          </p:cNvPr>
          <p:cNvSpPr txBox="1"/>
          <p:nvPr/>
        </p:nvSpPr>
        <p:spPr>
          <a:xfrm>
            <a:off x="1063629" y="1827085"/>
            <a:ext cx="931818" cy="15388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SWCLK</a:t>
            </a:r>
            <a:endParaRPr lang="ko-KR" altLang="en-US" sz="100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815BE3-1854-4AEA-BD25-3A7003D62102}"/>
              </a:ext>
            </a:extLst>
          </p:cNvPr>
          <p:cNvSpPr txBox="1"/>
          <p:nvPr/>
        </p:nvSpPr>
        <p:spPr>
          <a:xfrm>
            <a:off x="1882631" y="681393"/>
            <a:ext cx="1188323" cy="153888"/>
          </a:xfrm>
          <a:prstGeom prst="rect">
            <a:avLst/>
          </a:prstGeom>
          <a:solidFill>
            <a:srgbClr val="008A3E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_SPI3_SCK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4E3DB08-E640-417A-9D7E-8A6923E3A105}"/>
              </a:ext>
            </a:extLst>
          </p:cNvPr>
          <p:cNvSpPr txBox="1"/>
          <p:nvPr/>
        </p:nvSpPr>
        <p:spPr>
          <a:xfrm>
            <a:off x="793666" y="6233696"/>
            <a:ext cx="1201781" cy="1538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USART3_STL_RX</a:t>
            </a:r>
            <a:endParaRPr lang="ko-KR" altLang="en-US" sz="1000"/>
          </a:p>
        </p:txBody>
      </p:sp>
      <p:grpSp>
        <p:nvGrpSpPr>
          <p:cNvPr id="57" name="그룹 56">
            <a:extLst>
              <a:ext uri="{FF2B5EF4-FFF2-40B4-BE49-F238E27FC236}">
                <a16:creationId xmlns:a16="http://schemas.microsoft.com/office/drawing/2014/main" id="{AAC90CB8-112E-4338-98E9-473B0787B2E1}"/>
              </a:ext>
            </a:extLst>
          </p:cNvPr>
          <p:cNvGrpSpPr/>
          <p:nvPr/>
        </p:nvGrpSpPr>
        <p:grpSpPr>
          <a:xfrm>
            <a:off x="3028004" y="669376"/>
            <a:ext cx="255381" cy="856830"/>
            <a:chOff x="1928216" y="656184"/>
            <a:chExt cx="255381" cy="856830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D5A0FC4-CEE0-46A4-8E92-26E923F43B50}"/>
                </a:ext>
              </a:extLst>
            </p:cNvPr>
            <p:cNvSpPr txBox="1"/>
            <p:nvPr/>
          </p:nvSpPr>
          <p:spPr>
            <a:xfrm>
              <a:off x="1928216" y="656184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1</a:t>
              </a:r>
              <a:endParaRPr lang="ko-KR" altLang="en-US" sz="1000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0871C57-4400-42E1-B49D-C73F70A08F0C}"/>
                </a:ext>
              </a:extLst>
            </p:cNvPr>
            <p:cNvSpPr txBox="1"/>
            <p:nvPr/>
          </p:nvSpPr>
          <p:spPr>
            <a:xfrm>
              <a:off x="1928216" y="1322774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5</a:t>
              </a:r>
              <a:endParaRPr lang="ko-KR" altLang="en-US" sz="1000"/>
            </a:p>
          </p:txBody>
        </p:sp>
      </p:grp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4B330FC3-2632-4BC0-83F9-0C3A58530348}"/>
              </a:ext>
            </a:extLst>
          </p:cNvPr>
          <p:cNvGrpSpPr/>
          <p:nvPr/>
        </p:nvGrpSpPr>
        <p:grpSpPr>
          <a:xfrm>
            <a:off x="1941440" y="2163729"/>
            <a:ext cx="275468" cy="4282949"/>
            <a:chOff x="1926273" y="2154915"/>
            <a:chExt cx="275468" cy="4282949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35519FE-0466-42C0-8AB5-FAAB05945BD9}"/>
                </a:ext>
              </a:extLst>
            </p:cNvPr>
            <p:cNvSpPr txBox="1"/>
            <p:nvPr/>
          </p:nvSpPr>
          <p:spPr>
            <a:xfrm>
              <a:off x="1928216" y="2154915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10</a:t>
              </a:r>
              <a:endParaRPr lang="ko-KR" altLang="en-US" sz="100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B34B5A2-134D-4CA5-895B-92113E8CA8B5}"/>
                </a:ext>
              </a:extLst>
            </p:cNvPr>
            <p:cNvSpPr txBox="1"/>
            <p:nvPr/>
          </p:nvSpPr>
          <p:spPr>
            <a:xfrm>
              <a:off x="1926273" y="2958657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15</a:t>
              </a:r>
              <a:endParaRPr lang="ko-KR" altLang="en-US" sz="100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0B91445-F546-4193-B03C-AEC5FD75E921}"/>
                </a:ext>
              </a:extLst>
            </p:cNvPr>
            <p:cNvSpPr txBox="1"/>
            <p:nvPr/>
          </p:nvSpPr>
          <p:spPr>
            <a:xfrm>
              <a:off x="1935544" y="3780618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20</a:t>
              </a:r>
              <a:endParaRPr lang="ko-KR" altLang="en-US" sz="100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47B7C82D-5167-4063-B2ED-45457C760524}"/>
                </a:ext>
              </a:extLst>
            </p:cNvPr>
            <p:cNvSpPr txBox="1"/>
            <p:nvPr/>
          </p:nvSpPr>
          <p:spPr>
            <a:xfrm>
              <a:off x="1935544" y="4602579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25</a:t>
              </a:r>
              <a:endParaRPr lang="ko-KR" altLang="en-US" sz="100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3196D48-0855-4E58-B74D-CAE2E15F9D9C}"/>
                </a:ext>
              </a:extLst>
            </p:cNvPr>
            <p:cNvSpPr txBox="1"/>
            <p:nvPr/>
          </p:nvSpPr>
          <p:spPr>
            <a:xfrm>
              <a:off x="1946360" y="5409851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30</a:t>
              </a:r>
              <a:endParaRPr lang="ko-KR" altLang="en-US" sz="100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FE5B8A8-9677-49D0-96C0-325DC90D1E79}"/>
                </a:ext>
              </a:extLst>
            </p:cNvPr>
            <p:cNvSpPr txBox="1"/>
            <p:nvPr/>
          </p:nvSpPr>
          <p:spPr>
            <a:xfrm>
              <a:off x="1946360" y="6247624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35</a:t>
              </a:r>
              <a:endParaRPr lang="ko-KR" altLang="en-US" sz="1000"/>
            </a:p>
          </p:txBody>
        </p:sp>
      </p:grpSp>
      <p:grpSp>
        <p:nvGrpSpPr>
          <p:cNvPr id="67" name="그룹 66">
            <a:extLst>
              <a:ext uri="{FF2B5EF4-FFF2-40B4-BE49-F238E27FC236}">
                <a16:creationId xmlns:a16="http://schemas.microsoft.com/office/drawing/2014/main" id="{A954415D-2DEC-45ED-9E89-9971A20D7071}"/>
              </a:ext>
            </a:extLst>
          </p:cNvPr>
          <p:cNvGrpSpPr/>
          <p:nvPr/>
        </p:nvGrpSpPr>
        <p:grpSpPr>
          <a:xfrm>
            <a:off x="10304635" y="659231"/>
            <a:ext cx="275468" cy="5746529"/>
            <a:chOff x="10296738" y="624924"/>
            <a:chExt cx="280247" cy="5746529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89B97EF-B613-4672-821F-85E8DFCA7DE2}"/>
                </a:ext>
              </a:extLst>
            </p:cNvPr>
            <p:cNvSpPr txBox="1"/>
            <p:nvPr/>
          </p:nvSpPr>
          <p:spPr>
            <a:xfrm>
              <a:off x="10298715" y="624924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1</a:t>
              </a:r>
              <a:endParaRPr lang="ko-KR" altLang="en-US" sz="1000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248D2A3-11AD-4420-9293-F52875A21880}"/>
                </a:ext>
              </a:extLst>
            </p:cNvPr>
            <p:cNvSpPr txBox="1"/>
            <p:nvPr/>
          </p:nvSpPr>
          <p:spPr>
            <a:xfrm>
              <a:off x="10296738" y="1263054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5</a:t>
              </a:r>
              <a:endParaRPr lang="ko-KR" altLang="en-US" sz="1000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1824DC3-F416-4EA0-96A9-D22EBCF5270B}"/>
                </a:ext>
              </a:extLst>
            </p:cNvPr>
            <p:cNvSpPr txBox="1"/>
            <p:nvPr/>
          </p:nvSpPr>
          <p:spPr>
            <a:xfrm>
              <a:off x="10306189" y="2105772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10</a:t>
              </a:r>
              <a:endParaRPr lang="ko-KR" altLang="en-US" sz="100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8A9543F-88E7-47EA-AE64-FEC74C38F92B}"/>
                </a:ext>
              </a:extLst>
            </p:cNvPr>
            <p:cNvSpPr txBox="1"/>
            <p:nvPr/>
          </p:nvSpPr>
          <p:spPr>
            <a:xfrm>
              <a:off x="10296738" y="2927397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15</a:t>
              </a:r>
              <a:endParaRPr lang="ko-KR" altLang="en-US" sz="100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38A232B-89CE-4501-B7F2-258D2F22527E}"/>
                </a:ext>
              </a:extLst>
            </p:cNvPr>
            <p:cNvSpPr txBox="1"/>
            <p:nvPr/>
          </p:nvSpPr>
          <p:spPr>
            <a:xfrm>
              <a:off x="10306188" y="3740711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20</a:t>
              </a:r>
              <a:endParaRPr lang="ko-KR" altLang="en-US" sz="100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A3097E9-A8D8-44E3-B657-A12D0F539A96}"/>
                </a:ext>
              </a:extLst>
            </p:cNvPr>
            <p:cNvSpPr txBox="1"/>
            <p:nvPr/>
          </p:nvSpPr>
          <p:spPr>
            <a:xfrm>
              <a:off x="10306188" y="4567335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25</a:t>
              </a:r>
              <a:endParaRPr lang="ko-KR" altLang="en-US" sz="1000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CE08DDCC-407E-4729-9248-43F51945E765}"/>
                </a:ext>
              </a:extLst>
            </p:cNvPr>
            <p:cNvSpPr txBox="1"/>
            <p:nvPr/>
          </p:nvSpPr>
          <p:spPr>
            <a:xfrm>
              <a:off x="10317173" y="5378591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30</a:t>
              </a:r>
              <a:endParaRPr lang="ko-KR" altLang="en-US" sz="100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D10C47F-ADEA-4D86-9E58-9E96C6446E05}"/>
                </a:ext>
              </a:extLst>
            </p:cNvPr>
            <p:cNvSpPr txBox="1"/>
            <p:nvPr/>
          </p:nvSpPr>
          <p:spPr>
            <a:xfrm>
              <a:off x="10317173" y="6181213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/>
                <a:t>35</a:t>
              </a:r>
              <a:endParaRPr lang="ko-KR" altLang="en-US" sz="100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76C7045C-BD04-4B18-8C4C-9D05D99D0CAE}"/>
              </a:ext>
            </a:extLst>
          </p:cNvPr>
          <p:cNvSpPr txBox="1"/>
          <p:nvPr/>
        </p:nvSpPr>
        <p:spPr>
          <a:xfrm>
            <a:off x="1881329" y="825796"/>
            <a:ext cx="1188323" cy="153888"/>
          </a:xfrm>
          <a:prstGeom prst="rect">
            <a:avLst/>
          </a:prstGeom>
          <a:solidFill>
            <a:srgbClr val="008A3E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_SPI3_MOSI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7AF472C-52C7-4C5A-B670-91431B65D9EE}"/>
              </a:ext>
            </a:extLst>
          </p:cNvPr>
          <p:cNvSpPr txBox="1"/>
          <p:nvPr/>
        </p:nvSpPr>
        <p:spPr>
          <a:xfrm>
            <a:off x="10560014" y="668021"/>
            <a:ext cx="1188323" cy="153888"/>
          </a:xfrm>
          <a:prstGeom prst="rect">
            <a:avLst/>
          </a:prstGeom>
          <a:solidFill>
            <a:srgbClr val="008A3E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_SPI3_MISO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7D226B3-8A66-4277-BFA6-772647E7C598}"/>
              </a:ext>
            </a:extLst>
          </p:cNvPr>
          <p:cNvSpPr txBox="1"/>
          <p:nvPr/>
        </p:nvSpPr>
        <p:spPr>
          <a:xfrm>
            <a:off x="807124" y="1983540"/>
            <a:ext cx="1188323" cy="153888"/>
          </a:xfrm>
          <a:prstGeom prst="rect">
            <a:avLst/>
          </a:prstGeom>
          <a:solidFill>
            <a:srgbClr val="008A3E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SEG_LOAD</a:t>
            </a:r>
            <a:endParaRPr lang="ko-KR" altLang="en-US" sz="10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19D3D5A-243F-4EC7-A499-A5C0604419E4}"/>
              </a:ext>
            </a:extLst>
          </p:cNvPr>
          <p:cNvSpPr txBox="1"/>
          <p:nvPr/>
        </p:nvSpPr>
        <p:spPr>
          <a:xfrm>
            <a:off x="10560015" y="3104863"/>
            <a:ext cx="1188323" cy="1538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SEG_nOE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2159267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0" y="-82061"/>
            <a:ext cx="12192000" cy="514795"/>
          </a:xfrm>
          <a:prstGeom prst="rect">
            <a:avLst/>
          </a:prstGeom>
          <a:solidFill>
            <a:srgbClr val="F711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6022" y="0"/>
            <a:ext cx="11939955" cy="432734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altLang="ko-KR" sz="2800" dirty="0">
                <a:solidFill>
                  <a:schemeClr val="bg1"/>
                </a:solidFill>
                <a:latin typeface="+mn-ea"/>
                <a:sym typeface="Wingdings" panose="05000000000000000000" pitchFamily="2" charset="2"/>
              </a:rPr>
              <a:t>**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A9EDDF-6611-4AB1-A273-10BE87E02A15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68E7C2C-B624-4DCD-B805-458185AA60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978" y="-4398"/>
            <a:ext cx="9144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DD5458A-0A83-4FE6-ACFB-1DDC835C79FF}"/>
              </a:ext>
            </a:extLst>
          </p:cNvPr>
          <p:cNvSpPr txBox="1"/>
          <p:nvPr/>
        </p:nvSpPr>
        <p:spPr>
          <a:xfrm>
            <a:off x="1826821" y="817045"/>
            <a:ext cx="1188324" cy="153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HTMUX_</a:t>
            </a:r>
            <a:r>
              <a:rPr lang="en-US" altLang="ko-KR" sz="1000" dirty="0"/>
              <a:t>I2C1_SCL</a:t>
            </a:r>
            <a:endParaRPr lang="ko-KR" altLang="en-US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AA81F4-99E1-40DD-9621-4D4AFD14A461}"/>
              </a:ext>
            </a:extLst>
          </p:cNvPr>
          <p:cNvSpPr txBox="1"/>
          <p:nvPr/>
        </p:nvSpPr>
        <p:spPr>
          <a:xfrm>
            <a:off x="10604208" y="2778593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D3_RED</a:t>
            </a:r>
            <a:endParaRPr lang="ko-KR" altLang="en-US" sz="1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59C212-EE15-4531-9085-BEA7A0BBF472}"/>
              </a:ext>
            </a:extLst>
          </p:cNvPr>
          <p:cNvSpPr txBox="1"/>
          <p:nvPr/>
        </p:nvSpPr>
        <p:spPr>
          <a:xfrm>
            <a:off x="10604208" y="5698470"/>
            <a:ext cx="931818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SEG1_A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86836F-3E20-4795-B44B-63CF198AAFCD}"/>
              </a:ext>
            </a:extLst>
          </p:cNvPr>
          <p:cNvSpPr txBox="1"/>
          <p:nvPr/>
        </p:nvSpPr>
        <p:spPr>
          <a:xfrm>
            <a:off x="10604208" y="4067225"/>
            <a:ext cx="931818" cy="153888"/>
          </a:xfrm>
          <a:prstGeom prst="rect">
            <a:avLst/>
          </a:prstGeom>
          <a:solidFill>
            <a:srgbClr val="00B0F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SEG2_C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A92D33-0B04-43D6-B089-CC8E255009AF}"/>
              </a:ext>
            </a:extLst>
          </p:cNvPr>
          <p:cNvSpPr txBox="1"/>
          <p:nvPr/>
        </p:nvSpPr>
        <p:spPr>
          <a:xfrm>
            <a:off x="10604208" y="5218512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</a:t>
            </a:r>
            <a:r>
              <a:rPr lang="en-US" altLang="ko-KR" sz="1000"/>
              <a:t>FAN1_G</a:t>
            </a:r>
            <a:endParaRPr lang="ko-KR" altLang="en-US" sz="1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26BF70-267B-4C42-8432-428527AA1711}"/>
              </a:ext>
            </a:extLst>
          </p:cNvPr>
          <p:cNvSpPr txBox="1"/>
          <p:nvPr/>
        </p:nvSpPr>
        <p:spPr>
          <a:xfrm>
            <a:off x="10600249" y="3585732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</a:t>
            </a:r>
            <a:r>
              <a:rPr lang="en-US" altLang="ko-KR" sz="1000"/>
              <a:t>FAN2_R</a:t>
            </a:r>
            <a:endParaRPr lang="ko-KR" altLang="en-US" sz="1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3DE8CC-B004-4ABB-95B7-3296F1E7EF67}"/>
              </a:ext>
            </a:extLst>
          </p:cNvPr>
          <p:cNvSpPr txBox="1"/>
          <p:nvPr/>
        </p:nvSpPr>
        <p:spPr>
          <a:xfrm>
            <a:off x="10600249" y="3431844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</a:t>
            </a:r>
            <a:r>
              <a:rPr lang="en-US" altLang="ko-KR" sz="1000"/>
              <a:t>FAN2_G</a:t>
            </a:r>
            <a:endParaRPr lang="ko-KR" altLang="en-US" sz="1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883E5F-198A-4CE7-96CD-0AFA92CFDE21}"/>
              </a:ext>
            </a:extLst>
          </p:cNvPr>
          <p:cNvSpPr txBox="1"/>
          <p:nvPr/>
        </p:nvSpPr>
        <p:spPr>
          <a:xfrm>
            <a:off x="10600249" y="3910024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DP3_G</a:t>
            </a:r>
            <a:endParaRPr lang="ko-KR" altLang="en-US" sz="1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1A2EF4C-B686-4F3B-98CB-52D77B8BBF66}"/>
              </a:ext>
            </a:extLst>
          </p:cNvPr>
          <p:cNvSpPr txBox="1"/>
          <p:nvPr/>
        </p:nvSpPr>
        <p:spPr>
          <a:xfrm>
            <a:off x="10600249" y="5543047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</a:t>
            </a:r>
            <a:r>
              <a:rPr lang="en-US" altLang="ko-KR" sz="1000"/>
              <a:t>CHG_R</a:t>
            </a:r>
            <a:endParaRPr lang="ko-KR" altLang="en-US" sz="1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882866-D48C-48EB-83C6-78AB8B8CEB33}"/>
              </a:ext>
            </a:extLst>
          </p:cNvPr>
          <p:cNvSpPr txBox="1"/>
          <p:nvPr/>
        </p:nvSpPr>
        <p:spPr>
          <a:xfrm>
            <a:off x="1042654" y="5392459"/>
            <a:ext cx="931818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</a:t>
            </a:r>
            <a:r>
              <a:rPr lang="en-US" altLang="ko-KR" sz="1000"/>
              <a:t>CHG_G</a:t>
            </a:r>
            <a:endParaRPr lang="ko-KR" altLang="en-US" sz="1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700644-54A0-4165-BF1D-8DA3B2EA6AC0}"/>
              </a:ext>
            </a:extLst>
          </p:cNvPr>
          <p:cNvSpPr txBox="1"/>
          <p:nvPr/>
        </p:nvSpPr>
        <p:spPr>
          <a:xfrm>
            <a:off x="10600249" y="6209991"/>
            <a:ext cx="1083822" cy="153888"/>
          </a:xfrm>
          <a:prstGeom prst="rect">
            <a:avLst/>
          </a:prstGeom>
          <a:solidFill>
            <a:srgbClr val="424AF4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USB_PWR_SW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87930A5-A03E-4724-9DD3-434693F43994}"/>
              </a:ext>
            </a:extLst>
          </p:cNvPr>
          <p:cNvSpPr txBox="1"/>
          <p:nvPr/>
        </p:nvSpPr>
        <p:spPr>
          <a:xfrm>
            <a:off x="1042654" y="6032298"/>
            <a:ext cx="931818" cy="153888"/>
          </a:xfrm>
          <a:prstGeom prst="rect">
            <a:avLst/>
          </a:prstGeom>
          <a:solidFill>
            <a:srgbClr val="424AF4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USB_OVC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88D0D3F-56DB-4716-A4D1-8A63FB008CBC}"/>
              </a:ext>
            </a:extLst>
          </p:cNvPr>
          <p:cNvSpPr txBox="1"/>
          <p:nvPr/>
        </p:nvSpPr>
        <p:spPr>
          <a:xfrm>
            <a:off x="1042654" y="3433398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ETH_MDIO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DE149F4-DD8C-4C2C-BA19-F4EFF2BB3267}"/>
              </a:ext>
            </a:extLst>
          </p:cNvPr>
          <p:cNvSpPr txBox="1"/>
          <p:nvPr/>
        </p:nvSpPr>
        <p:spPr>
          <a:xfrm>
            <a:off x="1042654" y="1794925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ETH_CRS_DV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F32A07-58C7-47D5-956A-76F67DCA0FBC}"/>
              </a:ext>
            </a:extLst>
          </p:cNvPr>
          <p:cNvSpPr txBox="1"/>
          <p:nvPr/>
        </p:nvSpPr>
        <p:spPr>
          <a:xfrm>
            <a:off x="10600249" y="2922752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ETH_TXD1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938685-745C-428F-9897-9117C76E1B20}"/>
              </a:ext>
            </a:extLst>
          </p:cNvPr>
          <p:cNvSpPr txBox="1"/>
          <p:nvPr/>
        </p:nvSpPr>
        <p:spPr>
          <a:xfrm>
            <a:off x="10600248" y="3276178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ETH_RXD0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4447D6-2C34-412F-A627-396D6A136487}"/>
              </a:ext>
            </a:extLst>
          </p:cNvPr>
          <p:cNvSpPr txBox="1"/>
          <p:nvPr/>
        </p:nvSpPr>
        <p:spPr>
          <a:xfrm>
            <a:off x="10600247" y="967133"/>
            <a:ext cx="931817" cy="153888"/>
          </a:xfrm>
          <a:prstGeom prst="rect">
            <a:avLst/>
          </a:prstGeom>
          <a:solidFill>
            <a:srgbClr val="F711EC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ETH_RXD1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B62A9E-C608-4EFE-A20A-A3057BC4FF8D}"/>
              </a:ext>
            </a:extLst>
          </p:cNvPr>
          <p:cNvSpPr txBox="1"/>
          <p:nvPr/>
        </p:nvSpPr>
        <p:spPr>
          <a:xfrm>
            <a:off x="653999" y="1949973"/>
            <a:ext cx="1312853" cy="153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HTMUX _</a:t>
            </a:r>
            <a:r>
              <a:rPr lang="en-US" altLang="ko-KR" sz="1000" dirty="0"/>
              <a:t>I2C1</a:t>
            </a:r>
            <a:r>
              <a:rPr lang="en-US" altLang="ko-KR" sz="1000"/>
              <a:t>_RESET</a:t>
            </a:r>
            <a:endParaRPr lang="ko-KR" altLang="en-US" sz="10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CD0C8B-3F5B-4185-BA54-DE3E45C781FC}"/>
              </a:ext>
            </a:extLst>
          </p:cNvPr>
          <p:cNvSpPr txBox="1"/>
          <p:nvPr/>
        </p:nvSpPr>
        <p:spPr>
          <a:xfrm>
            <a:off x="1826820" y="984870"/>
            <a:ext cx="1188323" cy="153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HTMUX _</a:t>
            </a:r>
            <a:r>
              <a:rPr lang="en-US" altLang="ko-KR" sz="1000" dirty="0"/>
              <a:t>I2C1_SDA</a:t>
            </a:r>
            <a:endParaRPr lang="ko-KR" altLang="en-US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A1B27CA-0D52-4D51-A238-118A42E8FDDB}"/>
              </a:ext>
            </a:extLst>
          </p:cNvPr>
          <p:cNvSpPr txBox="1"/>
          <p:nvPr/>
        </p:nvSpPr>
        <p:spPr>
          <a:xfrm>
            <a:off x="759625" y="2603944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2_CH3</a:t>
            </a:r>
            <a:r>
              <a:rPr lang="en-US" altLang="ko-KR" sz="1000"/>
              <a:t>_IC2</a:t>
            </a:r>
            <a:endParaRPr lang="ko-KR" altLang="en-US" sz="10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16F5330-3743-484B-AA69-BD44C4114727}"/>
              </a:ext>
            </a:extLst>
          </p:cNvPr>
          <p:cNvSpPr txBox="1"/>
          <p:nvPr/>
        </p:nvSpPr>
        <p:spPr>
          <a:xfrm>
            <a:off x="767936" y="2108979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3_CH2_PWM5</a:t>
            </a:r>
            <a:endParaRPr lang="ko-KR" altLang="en-US" sz="10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3466F60-7A95-4C96-8230-FE8C83286EE8}"/>
              </a:ext>
            </a:extLst>
          </p:cNvPr>
          <p:cNvSpPr txBox="1"/>
          <p:nvPr/>
        </p:nvSpPr>
        <p:spPr>
          <a:xfrm>
            <a:off x="10606186" y="640508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3_CH3_PWM6</a:t>
            </a:r>
            <a:endParaRPr lang="ko-KR" altLang="en-US" sz="10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024478F-EA08-4208-AF5D-DE4305DBD015}"/>
              </a:ext>
            </a:extLst>
          </p:cNvPr>
          <p:cNvSpPr txBox="1"/>
          <p:nvPr/>
        </p:nvSpPr>
        <p:spPr>
          <a:xfrm>
            <a:off x="763977" y="4078354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4_CH1_IC4</a:t>
            </a:r>
            <a:endParaRPr lang="ko-KR" altLang="en-US" sz="10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F29CBB1-A692-4EA7-BAB0-58B02E999013}"/>
              </a:ext>
            </a:extLst>
          </p:cNvPr>
          <p:cNvSpPr txBox="1"/>
          <p:nvPr/>
        </p:nvSpPr>
        <p:spPr>
          <a:xfrm>
            <a:off x="763977" y="3919349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4_CH2_IC5</a:t>
            </a:r>
            <a:endParaRPr lang="ko-KR" altLang="en-US" sz="10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D286C47-244C-4502-8FAB-8985939BDF6C}"/>
              </a:ext>
            </a:extLst>
          </p:cNvPr>
          <p:cNvSpPr txBox="1"/>
          <p:nvPr/>
        </p:nvSpPr>
        <p:spPr>
          <a:xfrm>
            <a:off x="10606185" y="4234006"/>
            <a:ext cx="1193469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4_CH3_IC6</a:t>
            </a:r>
            <a:endParaRPr lang="ko-KR" altLang="en-US" sz="10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23D18F1-C92C-4DBD-BAFA-B9E4576E6822}"/>
              </a:ext>
            </a:extLst>
          </p:cNvPr>
          <p:cNvSpPr txBox="1"/>
          <p:nvPr/>
        </p:nvSpPr>
        <p:spPr>
          <a:xfrm>
            <a:off x="772689" y="3926714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4_CH2_IC5</a:t>
            </a:r>
            <a:endParaRPr lang="ko-KR" altLang="en-US" sz="10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95A281D-29D9-455B-B885-A018BF4E0628}"/>
              </a:ext>
            </a:extLst>
          </p:cNvPr>
          <p:cNvSpPr txBox="1"/>
          <p:nvPr/>
        </p:nvSpPr>
        <p:spPr>
          <a:xfrm>
            <a:off x="10600247" y="4734638"/>
            <a:ext cx="1193469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1_CH1_PWM1</a:t>
            </a:r>
            <a:endParaRPr lang="ko-KR" altLang="en-US" sz="10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1A68EC7-BDB7-485D-B4F4-0C44CCB42870}"/>
              </a:ext>
            </a:extLst>
          </p:cNvPr>
          <p:cNvSpPr txBox="1"/>
          <p:nvPr/>
        </p:nvSpPr>
        <p:spPr>
          <a:xfrm>
            <a:off x="10600246" y="5054497"/>
            <a:ext cx="1193469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1_CH2_PWM2</a:t>
            </a:r>
            <a:endParaRPr lang="ko-KR" altLang="en-US" sz="10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10F378-7FBA-47A4-A7B0-F64E10D63583}"/>
              </a:ext>
            </a:extLst>
          </p:cNvPr>
          <p:cNvSpPr txBox="1"/>
          <p:nvPr/>
        </p:nvSpPr>
        <p:spPr>
          <a:xfrm>
            <a:off x="768133" y="5071199"/>
            <a:ext cx="1193469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1_CH3_PWM3</a:t>
            </a:r>
            <a:endParaRPr lang="ko-KR" altLang="en-US" sz="10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97C4518-6009-44A4-8831-BC61B268CC3A}"/>
              </a:ext>
            </a:extLst>
          </p:cNvPr>
          <p:cNvSpPr txBox="1"/>
          <p:nvPr/>
        </p:nvSpPr>
        <p:spPr>
          <a:xfrm>
            <a:off x="10600245" y="1285640"/>
            <a:ext cx="1201781" cy="1538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USART3_STL_TX</a:t>
            </a:r>
            <a:endParaRPr lang="ko-KR" altLang="en-US" sz="10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5697464-C9C2-4F68-A162-0E6888ED02D0}"/>
              </a:ext>
            </a:extLst>
          </p:cNvPr>
          <p:cNvSpPr txBox="1"/>
          <p:nvPr/>
        </p:nvSpPr>
        <p:spPr>
          <a:xfrm>
            <a:off x="764378" y="2446771"/>
            <a:ext cx="1197029" cy="15388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BAT_I2C3_SCL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DAF4FF2-7C23-465E-97EC-CA4B6545759A}"/>
              </a:ext>
            </a:extLst>
          </p:cNvPr>
          <p:cNvSpPr txBox="1"/>
          <p:nvPr/>
        </p:nvSpPr>
        <p:spPr>
          <a:xfrm>
            <a:off x="1029784" y="2297471"/>
            <a:ext cx="931818" cy="153888"/>
          </a:xfrm>
          <a:prstGeom prst="rect">
            <a:avLst/>
          </a:prstGeom>
          <a:solidFill>
            <a:srgbClr val="424AF4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USB_VBUS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F2440F2-9934-4E8B-8C1B-37EAECCEC065}"/>
              </a:ext>
            </a:extLst>
          </p:cNvPr>
          <p:cNvSpPr txBox="1"/>
          <p:nvPr/>
        </p:nvSpPr>
        <p:spPr>
          <a:xfrm>
            <a:off x="10605194" y="1470472"/>
            <a:ext cx="931818" cy="153888"/>
          </a:xfrm>
          <a:prstGeom prst="rect">
            <a:avLst/>
          </a:prstGeom>
          <a:solidFill>
            <a:srgbClr val="424AF4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USB_DP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FA1D385-AECC-4E7F-8003-E4EAA42368EF}"/>
              </a:ext>
            </a:extLst>
          </p:cNvPr>
          <p:cNvSpPr txBox="1"/>
          <p:nvPr/>
        </p:nvSpPr>
        <p:spPr>
          <a:xfrm>
            <a:off x="10600246" y="1640657"/>
            <a:ext cx="931818" cy="153888"/>
          </a:xfrm>
          <a:prstGeom prst="rect">
            <a:avLst/>
          </a:prstGeom>
          <a:solidFill>
            <a:srgbClr val="424AF4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USB_DM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97CF26A-3E9B-400E-9FBF-1E4046FC9185}"/>
              </a:ext>
            </a:extLst>
          </p:cNvPr>
          <p:cNvSpPr txBox="1"/>
          <p:nvPr/>
        </p:nvSpPr>
        <p:spPr>
          <a:xfrm>
            <a:off x="1826820" y="1459321"/>
            <a:ext cx="1188323" cy="153888"/>
          </a:xfrm>
          <a:prstGeom prst="rect">
            <a:avLst/>
          </a:prstGeom>
          <a:solidFill>
            <a:srgbClr val="92D05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SEG_SPI1_CLK</a:t>
            </a:r>
            <a:endParaRPr lang="ko-KR" altLang="en-US" sz="1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D6B3E56-CB1D-48F3-B7D5-57E4CC408673}"/>
              </a:ext>
            </a:extLst>
          </p:cNvPr>
          <p:cNvSpPr txBox="1"/>
          <p:nvPr/>
        </p:nvSpPr>
        <p:spPr>
          <a:xfrm>
            <a:off x="755666" y="2778965"/>
            <a:ext cx="1188323" cy="153888"/>
          </a:xfrm>
          <a:prstGeom prst="rect">
            <a:avLst/>
          </a:prstGeom>
          <a:solidFill>
            <a:srgbClr val="92D05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SEG_ SPI1_MISO</a:t>
            </a:r>
            <a:endParaRPr lang="ko-KR" altLang="en-US" sz="10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AFD9DDF-0AD5-4F0F-AB65-72A5528F9BFA}"/>
              </a:ext>
            </a:extLst>
          </p:cNvPr>
          <p:cNvSpPr txBox="1"/>
          <p:nvPr/>
        </p:nvSpPr>
        <p:spPr>
          <a:xfrm>
            <a:off x="755666" y="2939595"/>
            <a:ext cx="1188323" cy="153888"/>
          </a:xfrm>
          <a:prstGeom prst="rect">
            <a:avLst/>
          </a:prstGeom>
          <a:solidFill>
            <a:srgbClr val="92D05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SEG_ SPI1_MOSI</a:t>
            </a:r>
            <a:endParaRPr lang="ko-KR" altLang="en-US" sz="10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7F686FC-66E8-4BBE-BD6F-064FD3A7D31B}"/>
              </a:ext>
            </a:extLst>
          </p:cNvPr>
          <p:cNvSpPr txBox="1"/>
          <p:nvPr/>
        </p:nvSpPr>
        <p:spPr>
          <a:xfrm>
            <a:off x="10606186" y="800352"/>
            <a:ext cx="1201782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3_CH1_PWM4</a:t>
            </a:r>
            <a:endParaRPr lang="ko-KR" altLang="en-US" sz="10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B6B18C5-677F-46BC-9076-E8E8B041D503}"/>
              </a:ext>
            </a:extLst>
          </p:cNvPr>
          <p:cNvSpPr txBox="1"/>
          <p:nvPr/>
        </p:nvSpPr>
        <p:spPr>
          <a:xfrm>
            <a:off x="1822466" y="648018"/>
            <a:ext cx="1197029" cy="15388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>
                <a:solidFill>
                  <a:schemeClr val="bg1"/>
                </a:solidFill>
              </a:rPr>
              <a:t>BAT_I2C3_SDA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23FF484-4FD6-4EBC-B987-0539C54E63D6}"/>
              </a:ext>
            </a:extLst>
          </p:cNvPr>
          <p:cNvSpPr txBox="1"/>
          <p:nvPr/>
        </p:nvSpPr>
        <p:spPr>
          <a:xfrm>
            <a:off x="10604208" y="5387205"/>
            <a:ext cx="931818" cy="153888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LED_RUN</a:t>
            </a:r>
            <a:endParaRPr lang="ko-KR" altLang="en-US" sz="1000" dirty="0"/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2C2BD4FC-79C3-4786-9EB8-72DD9AD3FDF9}"/>
              </a:ext>
            </a:extLst>
          </p:cNvPr>
          <p:cNvGrpSpPr/>
          <p:nvPr/>
        </p:nvGrpSpPr>
        <p:grpSpPr>
          <a:xfrm>
            <a:off x="10296739" y="624924"/>
            <a:ext cx="275468" cy="5781680"/>
            <a:chOff x="10296738" y="624924"/>
            <a:chExt cx="280247" cy="578168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2B549F4-3999-4A18-8104-0A6FFBE1F298}"/>
                </a:ext>
              </a:extLst>
            </p:cNvPr>
            <p:cNvSpPr txBox="1"/>
            <p:nvPr/>
          </p:nvSpPr>
          <p:spPr>
            <a:xfrm>
              <a:off x="10298715" y="624924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1</a:t>
              </a:r>
              <a:endParaRPr lang="ko-KR" altLang="en-US" sz="1000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D019462-28B8-4225-8742-232C8C3A0D81}"/>
                </a:ext>
              </a:extLst>
            </p:cNvPr>
            <p:cNvSpPr txBox="1"/>
            <p:nvPr/>
          </p:nvSpPr>
          <p:spPr>
            <a:xfrm>
              <a:off x="10298715" y="1254695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5</a:t>
              </a:r>
              <a:endParaRPr lang="ko-KR" altLang="en-US" sz="1000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BC00427-D4B3-4262-9505-A8B3226F57B1}"/>
                </a:ext>
              </a:extLst>
            </p:cNvPr>
            <p:cNvSpPr txBox="1"/>
            <p:nvPr/>
          </p:nvSpPr>
          <p:spPr>
            <a:xfrm>
              <a:off x="10298715" y="2123655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10</a:t>
              </a:r>
              <a:endParaRPr lang="ko-KR" altLang="en-US" sz="1000" dirty="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CFED865-7EA1-4427-813A-BACDC4C70D6B}"/>
                </a:ext>
              </a:extLst>
            </p:cNvPr>
            <p:cNvSpPr txBox="1"/>
            <p:nvPr/>
          </p:nvSpPr>
          <p:spPr>
            <a:xfrm>
              <a:off x="10296738" y="2927397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15</a:t>
              </a:r>
              <a:endParaRPr lang="ko-KR" altLang="en-US" sz="10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8B09CE2-4696-4083-A48B-B79871AA3448}"/>
                </a:ext>
              </a:extLst>
            </p:cNvPr>
            <p:cNvSpPr txBox="1"/>
            <p:nvPr/>
          </p:nvSpPr>
          <p:spPr>
            <a:xfrm>
              <a:off x="10306170" y="3749358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20</a:t>
              </a:r>
              <a:endParaRPr lang="ko-KR" altLang="en-US" sz="1000" dirty="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9A7B44E-67AD-4B80-883D-C9EEC6CAE77A}"/>
                </a:ext>
              </a:extLst>
            </p:cNvPr>
            <p:cNvSpPr txBox="1"/>
            <p:nvPr/>
          </p:nvSpPr>
          <p:spPr>
            <a:xfrm>
              <a:off x="10317172" y="4583341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25</a:t>
              </a:r>
              <a:endParaRPr lang="ko-KR" altLang="en-US" sz="1000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EE72484-D879-4038-9F0C-014EF61EDB6A}"/>
                </a:ext>
              </a:extLst>
            </p:cNvPr>
            <p:cNvSpPr txBox="1"/>
            <p:nvPr/>
          </p:nvSpPr>
          <p:spPr>
            <a:xfrm>
              <a:off x="10317173" y="5378591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30</a:t>
              </a:r>
              <a:endParaRPr lang="ko-KR" altLang="en-US" sz="1000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2EF0753-A3F7-4289-B533-C2F30E8FA7D5}"/>
                </a:ext>
              </a:extLst>
            </p:cNvPr>
            <p:cNvSpPr txBox="1"/>
            <p:nvPr/>
          </p:nvSpPr>
          <p:spPr>
            <a:xfrm>
              <a:off x="10317173" y="6216364"/>
              <a:ext cx="259812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35</a:t>
              </a:r>
              <a:endParaRPr lang="ko-KR" altLang="en-US" sz="1000" dirty="0"/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0D0D6E9E-BFAA-4CEB-81FC-4B72A3248C15}"/>
              </a:ext>
            </a:extLst>
          </p:cNvPr>
          <p:cNvGrpSpPr/>
          <p:nvPr/>
        </p:nvGrpSpPr>
        <p:grpSpPr>
          <a:xfrm>
            <a:off x="3028004" y="669376"/>
            <a:ext cx="255381" cy="820011"/>
            <a:chOff x="1928216" y="656184"/>
            <a:chExt cx="255381" cy="820011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623E911-A0ED-4345-9F4B-FF6BA1F46197}"/>
                </a:ext>
              </a:extLst>
            </p:cNvPr>
            <p:cNvSpPr txBox="1"/>
            <p:nvPr/>
          </p:nvSpPr>
          <p:spPr>
            <a:xfrm>
              <a:off x="1928216" y="656184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1</a:t>
              </a:r>
              <a:endParaRPr lang="ko-KR" altLang="en-US" sz="1000" dirty="0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966B727-DD94-4185-BBF0-E35A9CF30771}"/>
                </a:ext>
              </a:extLst>
            </p:cNvPr>
            <p:cNvSpPr txBox="1"/>
            <p:nvPr/>
          </p:nvSpPr>
          <p:spPr>
            <a:xfrm>
              <a:off x="1928216" y="1285955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5</a:t>
              </a:r>
              <a:endParaRPr lang="ko-KR" altLang="en-US" sz="1000" dirty="0"/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AA0A48EB-7D55-4FE0-B7C6-9B083AD47F16}"/>
              </a:ext>
            </a:extLst>
          </p:cNvPr>
          <p:cNvGrpSpPr/>
          <p:nvPr/>
        </p:nvGrpSpPr>
        <p:grpSpPr>
          <a:xfrm>
            <a:off x="1933305" y="2121429"/>
            <a:ext cx="275468" cy="4282949"/>
            <a:chOff x="1926273" y="2154915"/>
            <a:chExt cx="275468" cy="4282949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ED752C3-AF31-48E2-93D2-E2B4CBBA728D}"/>
                </a:ext>
              </a:extLst>
            </p:cNvPr>
            <p:cNvSpPr txBox="1"/>
            <p:nvPr/>
          </p:nvSpPr>
          <p:spPr>
            <a:xfrm>
              <a:off x="1928216" y="2154915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10</a:t>
              </a:r>
              <a:endParaRPr lang="ko-KR" altLang="en-US" sz="1000" dirty="0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83FD73B-A5BF-41EB-B97B-A6900765BC4E}"/>
                </a:ext>
              </a:extLst>
            </p:cNvPr>
            <p:cNvSpPr txBox="1"/>
            <p:nvPr/>
          </p:nvSpPr>
          <p:spPr>
            <a:xfrm>
              <a:off x="1926273" y="2958657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15</a:t>
              </a:r>
              <a:endParaRPr lang="ko-KR" altLang="en-US" sz="1000" dirty="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8F1F12C-856B-427E-AF46-9ACD335EBEA3}"/>
                </a:ext>
              </a:extLst>
            </p:cNvPr>
            <p:cNvSpPr txBox="1"/>
            <p:nvPr/>
          </p:nvSpPr>
          <p:spPr>
            <a:xfrm>
              <a:off x="1935544" y="3780618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20</a:t>
              </a:r>
              <a:endParaRPr lang="ko-KR" altLang="en-US" sz="100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1F7624D-1BFC-4174-A142-B5CB6C451858}"/>
                </a:ext>
              </a:extLst>
            </p:cNvPr>
            <p:cNvSpPr txBox="1"/>
            <p:nvPr/>
          </p:nvSpPr>
          <p:spPr>
            <a:xfrm>
              <a:off x="1935544" y="4602579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25</a:t>
              </a:r>
              <a:endParaRPr lang="ko-KR" altLang="en-US" sz="1000" dirty="0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C89F34EE-1D75-4252-AC8D-9DC119789158}"/>
                </a:ext>
              </a:extLst>
            </p:cNvPr>
            <p:cNvSpPr txBox="1"/>
            <p:nvPr/>
          </p:nvSpPr>
          <p:spPr>
            <a:xfrm>
              <a:off x="1946360" y="5409851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30</a:t>
              </a:r>
              <a:endParaRPr lang="ko-KR" altLang="en-US" sz="1000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CFE6A2E-71B1-4636-B0BE-26879194CC68}"/>
                </a:ext>
              </a:extLst>
            </p:cNvPr>
            <p:cNvSpPr txBox="1"/>
            <p:nvPr/>
          </p:nvSpPr>
          <p:spPr>
            <a:xfrm>
              <a:off x="1946360" y="6247624"/>
              <a:ext cx="255381" cy="190240"/>
            </a:xfrm>
            <a:prstGeom prst="rect">
              <a:avLst/>
            </a:prstGeom>
            <a:noFill/>
          </p:spPr>
          <p:txBody>
            <a:bodyPr wrap="square" lIns="36000" tIns="0" rIns="36000" bIns="36000" rtlCol="0">
              <a:spAutoFit/>
            </a:bodyPr>
            <a:lstStyle/>
            <a:p>
              <a:pPr algn="ctr"/>
              <a:r>
                <a:rPr lang="en-US" altLang="ko-KR" sz="1000" dirty="0"/>
                <a:t>35</a:t>
              </a:r>
              <a:endParaRPr lang="ko-KR" altLang="en-US" sz="1000" dirty="0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F20D41F8-A0F1-4451-AE8E-21C448B5FBA0}"/>
              </a:ext>
            </a:extLst>
          </p:cNvPr>
          <p:cNvSpPr txBox="1"/>
          <p:nvPr/>
        </p:nvSpPr>
        <p:spPr>
          <a:xfrm>
            <a:off x="1822466" y="1610440"/>
            <a:ext cx="1188323" cy="153888"/>
          </a:xfrm>
          <a:prstGeom prst="rect">
            <a:avLst/>
          </a:prstGeom>
          <a:solidFill>
            <a:srgbClr val="92D05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SEG_LE</a:t>
            </a:r>
            <a:endParaRPr lang="ko-KR" altLang="en-US" sz="10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9614080-DB5C-4C3C-A039-3159B3600677}"/>
              </a:ext>
            </a:extLst>
          </p:cNvPr>
          <p:cNvSpPr txBox="1"/>
          <p:nvPr/>
        </p:nvSpPr>
        <p:spPr>
          <a:xfrm>
            <a:off x="763977" y="5233317"/>
            <a:ext cx="1214454" cy="153888"/>
          </a:xfrm>
          <a:prstGeom prst="rect">
            <a:avLst/>
          </a:prstGeom>
          <a:solidFill>
            <a:schemeClr val="bg1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LED_MineDet</a:t>
            </a:r>
            <a:endParaRPr lang="ko-KR" altLang="en-US" sz="1000" dirty="0"/>
          </a:p>
        </p:txBody>
      </p:sp>
      <p:sp>
        <p:nvSpPr>
          <p:cNvPr id="19" name="Rectangle 1">
            <a:extLst>
              <a:ext uri="{FF2B5EF4-FFF2-40B4-BE49-F238E27FC236}">
                <a16:creationId xmlns:a16="http://schemas.microsoft.com/office/drawing/2014/main" id="{DD93FDEF-8BFE-45DF-83A7-31ED44A27B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2539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000" b="0" i="0" u="none" strike="noStrike" cap="none" normalizeH="0" baseline="0">
                <a:ln>
                  <a:noFill/>
                </a:ln>
                <a:solidFill>
                  <a:srgbClr val="111111"/>
                </a:solidFill>
                <a:effectLst/>
                <a:latin typeface="Arial Unicode MS"/>
              </a:rPr>
              <a:t>Buzzer_Off();</a:t>
            </a:r>
            <a:r>
              <a:rPr kumimoji="0" lang="ko-KR" altLang="ko-KR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ko-KR" altLang="ko-K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80745F-3B2F-46FA-B2A7-5F804582A4EA}"/>
              </a:ext>
            </a:extLst>
          </p:cNvPr>
          <p:cNvSpPr txBox="1"/>
          <p:nvPr/>
        </p:nvSpPr>
        <p:spPr>
          <a:xfrm>
            <a:off x="776249" y="3599430"/>
            <a:ext cx="1193469" cy="153888"/>
          </a:xfrm>
          <a:prstGeom prst="rect">
            <a:avLst/>
          </a:prstGeom>
          <a:solidFill>
            <a:srgbClr val="7030A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>
                <a:solidFill>
                  <a:schemeClr val="bg1"/>
                </a:solidFill>
              </a:rPr>
              <a:t>TIM5_CH4_BUZ</a:t>
            </a:r>
            <a:endParaRPr lang="ko-KR" altLang="en-US" sz="1000" dirty="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BF42056-3319-46A5-B2A2-D7B1FBF5ADFA}"/>
              </a:ext>
            </a:extLst>
          </p:cNvPr>
          <p:cNvSpPr txBox="1"/>
          <p:nvPr/>
        </p:nvSpPr>
        <p:spPr>
          <a:xfrm>
            <a:off x="10605392" y="1992634"/>
            <a:ext cx="1188323" cy="153888"/>
          </a:xfrm>
          <a:prstGeom prst="rect">
            <a:avLst/>
          </a:prstGeom>
          <a:solidFill>
            <a:srgbClr val="FFFF0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 dirty="0"/>
              <a:t>TIM2</a:t>
            </a:r>
            <a:r>
              <a:rPr lang="en-US" altLang="ko-KR" sz="1000"/>
              <a:t>_CH4_IC3</a:t>
            </a:r>
            <a:endParaRPr lang="ko-KR" altLang="en-US" sz="10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E1DD1B5-F1AA-43A4-B64A-60B3E442C101}"/>
              </a:ext>
            </a:extLst>
          </p:cNvPr>
          <p:cNvSpPr txBox="1"/>
          <p:nvPr/>
        </p:nvSpPr>
        <p:spPr>
          <a:xfrm>
            <a:off x="1001487" y="3092409"/>
            <a:ext cx="931818" cy="15388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SWO</a:t>
            </a:r>
            <a:endParaRPr lang="ko-KR" altLang="en-US" sz="100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EBF92F6-AB3C-45D2-AD63-627C974DD9A5}"/>
              </a:ext>
            </a:extLst>
          </p:cNvPr>
          <p:cNvSpPr txBox="1"/>
          <p:nvPr/>
        </p:nvSpPr>
        <p:spPr>
          <a:xfrm>
            <a:off x="744982" y="3235665"/>
            <a:ext cx="1188323" cy="153888"/>
          </a:xfrm>
          <a:prstGeom prst="rect">
            <a:avLst/>
          </a:prstGeom>
          <a:solidFill>
            <a:srgbClr val="92D050"/>
          </a:solidFill>
          <a:ln>
            <a:solidFill>
              <a:srgbClr val="0000CC"/>
            </a:solidFill>
          </a:ln>
        </p:spPr>
        <p:txBody>
          <a:bodyPr wrap="square" tIns="0" bIns="0" rtlCol="0">
            <a:spAutoFit/>
          </a:bodyPr>
          <a:lstStyle/>
          <a:p>
            <a:pPr algn="ctr"/>
            <a:r>
              <a:rPr lang="en-US" altLang="ko-KR" sz="1000"/>
              <a:t>SEG_nOE</a:t>
            </a:r>
            <a:endParaRPr lang="ko-KR" altLang="en-US" sz="1000" dirty="0"/>
          </a:p>
        </p:txBody>
      </p:sp>
    </p:spTree>
    <p:extLst>
      <p:ext uri="{BB962C8B-B14F-4D97-AF65-F5344CB8AC3E}">
        <p14:creationId xmlns:p14="http://schemas.microsoft.com/office/powerpoint/2010/main" val="4308178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0" y="-82061"/>
            <a:ext cx="12192000" cy="514795"/>
          </a:xfrm>
          <a:prstGeom prst="rect">
            <a:avLst/>
          </a:prstGeom>
          <a:solidFill>
            <a:srgbClr val="F711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6022" y="0"/>
            <a:ext cx="11939955" cy="432734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altLang="ko-KR" sz="2800" dirty="0">
                <a:solidFill>
                  <a:schemeClr val="bg1"/>
                </a:solidFill>
                <a:latin typeface="+mn-ea"/>
                <a:sym typeface="Wingdings" panose="05000000000000000000" pitchFamily="2" charset="2"/>
              </a:rPr>
              <a:t>**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A9EDDF-6611-4AB1-A273-10BE87E02A15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D956F95-AD83-4B98-B0E2-284C06513F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741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0" y="-82061"/>
            <a:ext cx="12192000" cy="514795"/>
          </a:xfrm>
          <a:prstGeom prst="rect">
            <a:avLst/>
          </a:prstGeom>
          <a:solidFill>
            <a:srgbClr val="F711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6022" y="0"/>
            <a:ext cx="11939955" cy="432734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altLang="ko-KR" sz="2800" dirty="0">
                <a:solidFill>
                  <a:schemeClr val="bg1"/>
                </a:solidFill>
                <a:latin typeface="+mn-ea"/>
                <a:sym typeface="Wingdings" panose="05000000000000000000" pitchFamily="2" charset="2"/>
              </a:rPr>
              <a:t>**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A9EDDF-6611-4AB1-A273-10BE87E02A15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4C2D5D4-15D0-448B-9C9A-AE98B32D80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0294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0" y="-82061"/>
            <a:ext cx="12192000" cy="514795"/>
          </a:xfrm>
          <a:prstGeom prst="rect">
            <a:avLst/>
          </a:prstGeom>
          <a:solidFill>
            <a:srgbClr val="F711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26022" y="0"/>
            <a:ext cx="11939955" cy="432734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altLang="ko-KR" sz="2800" dirty="0">
                <a:solidFill>
                  <a:schemeClr val="bg1"/>
                </a:solidFill>
                <a:latin typeface="+mn-ea"/>
                <a:sym typeface="Wingdings" panose="05000000000000000000" pitchFamily="2" charset="2"/>
              </a:rPr>
              <a:t>**</a:t>
            </a:r>
            <a:endParaRPr lang="ko-KR" altLang="en-US" sz="2800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A9EDDF-6611-4AB1-A273-10BE87E02A15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5" name="표 6">
            <a:extLst>
              <a:ext uri="{FF2B5EF4-FFF2-40B4-BE49-F238E27FC236}">
                <a16:creationId xmlns:a16="http://schemas.microsoft.com/office/drawing/2014/main" id="{305EF547-4949-467A-BE38-4CFF6483A8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5210686"/>
              </p:ext>
            </p:extLst>
          </p:nvPr>
        </p:nvGraphicFramePr>
        <p:xfrm>
          <a:off x="1121526" y="963533"/>
          <a:ext cx="2999900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49975">
                  <a:extLst>
                    <a:ext uri="{9D8B030D-6E8A-4147-A177-3AD203B41FA5}">
                      <a16:colId xmlns:a16="http://schemas.microsoft.com/office/drawing/2014/main" val="3327102762"/>
                    </a:ext>
                  </a:extLst>
                </a:gridCol>
                <a:gridCol w="749975">
                  <a:extLst>
                    <a:ext uri="{9D8B030D-6E8A-4147-A177-3AD203B41FA5}">
                      <a16:colId xmlns:a16="http://schemas.microsoft.com/office/drawing/2014/main" val="1924592512"/>
                    </a:ext>
                  </a:extLst>
                </a:gridCol>
                <a:gridCol w="749975">
                  <a:extLst>
                    <a:ext uri="{9D8B030D-6E8A-4147-A177-3AD203B41FA5}">
                      <a16:colId xmlns:a16="http://schemas.microsoft.com/office/drawing/2014/main" val="3636612338"/>
                    </a:ext>
                  </a:extLst>
                </a:gridCol>
                <a:gridCol w="749975">
                  <a:extLst>
                    <a:ext uri="{9D8B030D-6E8A-4147-A177-3AD203B41FA5}">
                      <a16:colId xmlns:a16="http://schemas.microsoft.com/office/drawing/2014/main" val="21181756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TEMP</a:t>
                      </a:r>
                      <a:endParaRPr lang="ko-KR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FAN1</a:t>
                      </a:r>
                      <a:endParaRPr lang="ko-KR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FAN2</a:t>
                      </a:r>
                      <a:endParaRPr lang="ko-KR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PSU</a:t>
                      </a:r>
                      <a:endParaRPr lang="ko-KR" altLang="en-US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2992589"/>
                  </a:ext>
                </a:extLst>
              </a:tr>
            </a:tbl>
          </a:graphicData>
        </a:graphic>
      </p:graphicFrame>
      <p:graphicFrame>
        <p:nvGraphicFramePr>
          <p:cNvPr id="8" name="표 10">
            <a:extLst>
              <a:ext uri="{FF2B5EF4-FFF2-40B4-BE49-F238E27FC236}">
                <a16:creationId xmlns:a16="http://schemas.microsoft.com/office/drawing/2014/main" id="{298418B2-6E98-4AEA-8742-38FB418107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4435338"/>
              </p:ext>
            </p:extLst>
          </p:nvPr>
        </p:nvGraphicFramePr>
        <p:xfrm>
          <a:off x="1121528" y="1865172"/>
          <a:ext cx="3727300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45460">
                  <a:extLst>
                    <a:ext uri="{9D8B030D-6E8A-4147-A177-3AD203B41FA5}">
                      <a16:colId xmlns:a16="http://schemas.microsoft.com/office/drawing/2014/main" val="4282117514"/>
                    </a:ext>
                  </a:extLst>
                </a:gridCol>
                <a:gridCol w="745460">
                  <a:extLst>
                    <a:ext uri="{9D8B030D-6E8A-4147-A177-3AD203B41FA5}">
                      <a16:colId xmlns:a16="http://schemas.microsoft.com/office/drawing/2014/main" val="1978468464"/>
                    </a:ext>
                  </a:extLst>
                </a:gridCol>
                <a:gridCol w="745460">
                  <a:extLst>
                    <a:ext uri="{9D8B030D-6E8A-4147-A177-3AD203B41FA5}">
                      <a16:colId xmlns:a16="http://schemas.microsoft.com/office/drawing/2014/main" val="2335310599"/>
                    </a:ext>
                  </a:extLst>
                </a:gridCol>
                <a:gridCol w="745460">
                  <a:extLst>
                    <a:ext uri="{9D8B030D-6E8A-4147-A177-3AD203B41FA5}">
                      <a16:colId xmlns:a16="http://schemas.microsoft.com/office/drawing/2014/main" val="1762538549"/>
                    </a:ext>
                  </a:extLst>
                </a:gridCol>
                <a:gridCol w="745460">
                  <a:extLst>
                    <a:ext uri="{9D8B030D-6E8A-4147-A177-3AD203B41FA5}">
                      <a16:colId xmlns:a16="http://schemas.microsoft.com/office/drawing/2014/main" val="344148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1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2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3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CHG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BUZ</a:t>
                      </a:r>
                      <a:endParaRPr lang="ko-KR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1396997"/>
                  </a:ext>
                </a:extLst>
              </a:tr>
            </a:tbl>
          </a:graphicData>
        </a:graphic>
      </p:graphicFrame>
      <p:graphicFrame>
        <p:nvGraphicFramePr>
          <p:cNvPr id="15" name="표 12">
            <a:extLst>
              <a:ext uri="{FF2B5EF4-FFF2-40B4-BE49-F238E27FC236}">
                <a16:creationId xmlns:a16="http://schemas.microsoft.com/office/drawing/2014/main" id="{03825E2B-1ABE-46B1-AB23-392435135C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124492"/>
              </p:ext>
            </p:extLst>
          </p:nvPr>
        </p:nvGraphicFramePr>
        <p:xfrm>
          <a:off x="1121526" y="2763807"/>
          <a:ext cx="3914304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2384">
                  <a:extLst>
                    <a:ext uri="{9D8B030D-6E8A-4147-A177-3AD203B41FA5}">
                      <a16:colId xmlns:a16="http://schemas.microsoft.com/office/drawing/2014/main" val="3591081256"/>
                    </a:ext>
                  </a:extLst>
                </a:gridCol>
                <a:gridCol w="652384">
                  <a:extLst>
                    <a:ext uri="{9D8B030D-6E8A-4147-A177-3AD203B41FA5}">
                      <a16:colId xmlns:a16="http://schemas.microsoft.com/office/drawing/2014/main" val="3566478197"/>
                    </a:ext>
                  </a:extLst>
                </a:gridCol>
                <a:gridCol w="652384">
                  <a:extLst>
                    <a:ext uri="{9D8B030D-6E8A-4147-A177-3AD203B41FA5}">
                      <a16:colId xmlns:a16="http://schemas.microsoft.com/office/drawing/2014/main" val="816386449"/>
                    </a:ext>
                  </a:extLst>
                </a:gridCol>
                <a:gridCol w="652384">
                  <a:extLst>
                    <a:ext uri="{9D8B030D-6E8A-4147-A177-3AD203B41FA5}">
                      <a16:colId xmlns:a16="http://schemas.microsoft.com/office/drawing/2014/main" val="2842587639"/>
                    </a:ext>
                  </a:extLst>
                </a:gridCol>
                <a:gridCol w="652384">
                  <a:extLst>
                    <a:ext uri="{9D8B030D-6E8A-4147-A177-3AD203B41FA5}">
                      <a16:colId xmlns:a16="http://schemas.microsoft.com/office/drawing/2014/main" val="614686430"/>
                    </a:ext>
                  </a:extLst>
                </a:gridCol>
                <a:gridCol w="652384">
                  <a:extLst>
                    <a:ext uri="{9D8B030D-6E8A-4147-A177-3AD203B41FA5}">
                      <a16:colId xmlns:a16="http://schemas.microsoft.com/office/drawing/2014/main" val="1630810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PSU1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PSU2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1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2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3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CHG</a:t>
                      </a:r>
                      <a:endParaRPr lang="ko-KR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9078403"/>
                  </a:ext>
                </a:extLst>
              </a:tr>
            </a:tbl>
          </a:graphicData>
        </a:graphic>
      </p:graphicFrame>
      <p:graphicFrame>
        <p:nvGraphicFramePr>
          <p:cNvPr id="19" name="표 6">
            <a:extLst>
              <a:ext uri="{FF2B5EF4-FFF2-40B4-BE49-F238E27FC236}">
                <a16:creationId xmlns:a16="http://schemas.microsoft.com/office/drawing/2014/main" id="{04EBAB3A-1CD6-4DEF-B3EA-A4A3B97E81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4026542"/>
              </p:ext>
            </p:extLst>
          </p:nvPr>
        </p:nvGraphicFramePr>
        <p:xfrm>
          <a:off x="6813335" y="963533"/>
          <a:ext cx="2889088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2272">
                  <a:extLst>
                    <a:ext uri="{9D8B030D-6E8A-4147-A177-3AD203B41FA5}">
                      <a16:colId xmlns:a16="http://schemas.microsoft.com/office/drawing/2014/main" val="3327102762"/>
                    </a:ext>
                  </a:extLst>
                </a:gridCol>
                <a:gridCol w="722272">
                  <a:extLst>
                    <a:ext uri="{9D8B030D-6E8A-4147-A177-3AD203B41FA5}">
                      <a16:colId xmlns:a16="http://schemas.microsoft.com/office/drawing/2014/main" val="1924592512"/>
                    </a:ext>
                  </a:extLst>
                </a:gridCol>
                <a:gridCol w="722272">
                  <a:extLst>
                    <a:ext uri="{9D8B030D-6E8A-4147-A177-3AD203B41FA5}">
                      <a16:colId xmlns:a16="http://schemas.microsoft.com/office/drawing/2014/main" val="3636612338"/>
                    </a:ext>
                  </a:extLst>
                </a:gridCol>
                <a:gridCol w="722272">
                  <a:extLst>
                    <a:ext uri="{9D8B030D-6E8A-4147-A177-3AD203B41FA5}">
                      <a16:colId xmlns:a16="http://schemas.microsoft.com/office/drawing/2014/main" val="21181756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TEMP</a:t>
                      </a:r>
                      <a:endParaRPr lang="ko-KR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FAN1</a:t>
                      </a:r>
                      <a:endParaRPr lang="ko-KR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FAN2</a:t>
                      </a:r>
                      <a:endParaRPr lang="ko-KR" alt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PSU</a:t>
                      </a:r>
                      <a:endParaRPr lang="ko-KR" altLang="en-US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2992589"/>
                  </a:ext>
                </a:extLst>
              </a:tr>
            </a:tbl>
          </a:graphicData>
        </a:graphic>
      </p:graphicFrame>
      <p:graphicFrame>
        <p:nvGraphicFramePr>
          <p:cNvPr id="20" name="표 10">
            <a:extLst>
              <a:ext uri="{FF2B5EF4-FFF2-40B4-BE49-F238E27FC236}">
                <a16:creationId xmlns:a16="http://schemas.microsoft.com/office/drawing/2014/main" id="{2D79A43D-D91C-479D-982A-1FAB132759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588076"/>
              </p:ext>
            </p:extLst>
          </p:nvPr>
        </p:nvGraphicFramePr>
        <p:xfrm>
          <a:off x="6813337" y="1865172"/>
          <a:ext cx="3589620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7924">
                  <a:extLst>
                    <a:ext uri="{9D8B030D-6E8A-4147-A177-3AD203B41FA5}">
                      <a16:colId xmlns:a16="http://schemas.microsoft.com/office/drawing/2014/main" val="4282117514"/>
                    </a:ext>
                  </a:extLst>
                </a:gridCol>
                <a:gridCol w="717924">
                  <a:extLst>
                    <a:ext uri="{9D8B030D-6E8A-4147-A177-3AD203B41FA5}">
                      <a16:colId xmlns:a16="http://schemas.microsoft.com/office/drawing/2014/main" val="1978468464"/>
                    </a:ext>
                  </a:extLst>
                </a:gridCol>
                <a:gridCol w="717924">
                  <a:extLst>
                    <a:ext uri="{9D8B030D-6E8A-4147-A177-3AD203B41FA5}">
                      <a16:colId xmlns:a16="http://schemas.microsoft.com/office/drawing/2014/main" val="2335310599"/>
                    </a:ext>
                  </a:extLst>
                </a:gridCol>
                <a:gridCol w="717924">
                  <a:extLst>
                    <a:ext uri="{9D8B030D-6E8A-4147-A177-3AD203B41FA5}">
                      <a16:colId xmlns:a16="http://schemas.microsoft.com/office/drawing/2014/main" val="1762538549"/>
                    </a:ext>
                  </a:extLst>
                </a:gridCol>
                <a:gridCol w="717924">
                  <a:extLst>
                    <a:ext uri="{9D8B030D-6E8A-4147-A177-3AD203B41FA5}">
                      <a16:colId xmlns:a16="http://schemas.microsoft.com/office/drawing/2014/main" val="344148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1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2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3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CHG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BUZ</a:t>
                      </a:r>
                      <a:endParaRPr lang="ko-KR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1396997"/>
                  </a:ext>
                </a:extLst>
              </a:tr>
            </a:tbl>
          </a:graphicData>
        </a:graphic>
      </p:graphicFrame>
      <p:graphicFrame>
        <p:nvGraphicFramePr>
          <p:cNvPr id="21" name="표 12">
            <a:extLst>
              <a:ext uri="{FF2B5EF4-FFF2-40B4-BE49-F238E27FC236}">
                <a16:creationId xmlns:a16="http://schemas.microsoft.com/office/drawing/2014/main" id="{3A0117A6-287C-42BF-AF6B-E1F8CD4498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287484"/>
              </p:ext>
            </p:extLst>
          </p:nvPr>
        </p:nvGraphicFramePr>
        <p:xfrm>
          <a:off x="6813335" y="2763807"/>
          <a:ext cx="3788856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31476">
                  <a:extLst>
                    <a:ext uri="{9D8B030D-6E8A-4147-A177-3AD203B41FA5}">
                      <a16:colId xmlns:a16="http://schemas.microsoft.com/office/drawing/2014/main" val="3591081256"/>
                    </a:ext>
                  </a:extLst>
                </a:gridCol>
                <a:gridCol w="631476">
                  <a:extLst>
                    <a:ext uri="{9D8B030D-6E8A-4147-A177-3AD203B41FA5}">
                      <a16:colId xmlns:a16="http://schemas.microsoft.com/office/drawing/2014/main" val="3566478197"/>
                    </a:ext>
                  </a:extLst>
                </a:gridCol>
                <a:gridCol w="631476">
                  <a:extLst>
                    <a:ext uri="{9D8B030D-6E8A-4147-A177-3AD203B41FA5}">
                      <a16:colId xmlns:a16="http://schemas.microsoft.com/office/drawing/2014/main" val="816386449"/>
                    </a:ext>
                  </a:extLst>
                </a:gridCol>
                <a:gridCol w="631476">
                  <a:extLst>
                    <a:ext uri="{9D8B030D-6E8A-4147-A177-3AD203B41FA5}">
                      <a16:colId xmlns:a16="http://schemas.microsoft.com/office/drawing/2014/main" val="2842587639"/>
                    </a:ext>
                  </a:extLst>
                </a:gridCol>
                <a:gridCol w="631476">
                  <a:extLst>
                    <a:ext uri="{9D8B030D-6E8A-4147-A177-3AD203B41FA5}">
                      <a16:colId xmlns:a16="http://schemas.microsoft.com/office/drawing/2014/main" val="614686430"/>
                    </a:ext>
                  </a:extLst>
                </a:gridCol>
                <a:gridCol w="631476">
                  <a:extLst>
                    <a:ext uri="{9D8B030D-6E8A-4147-A177-3AD203B41FA5}">
                      <a16:colId xmlns:a16="http://schemas.microsoft.com/office/drawing/2014/main" val="1630810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PSU1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PSU2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1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2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DP3</a:t>
                      </a:r>
                      <a:endParaRPr lang="ko-KR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/>
                        <a:t>CHG</a:t>
                      </a:r>
                      <a:endParaRPr lang="ko-KR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9078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6593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30899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사각형 8"/>
          <p:cNvSpPr/>
          <p:nvPr/>
        </p:nvSpPr>
        <p:spPr>
          <a:xfrm>
            <a:off x="0" y="-82061"/>
            <a:ext cx="12192000" cy="691662"/>
          </a:xfrm>
          <a:prstGeom prst="rect">
            <a:avLst/>
          </a:prstGeom>
          <a:solidFill>
            <a:srgbClr val="F711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11369" y="70849"/>
            <a:ext cx="11939955" cy="432734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altLang="ko-KR" sz="3200" dirty="0">
                <a:solidFill>
                  <a:schemeClr val="bg1"/>
                </a:solidFill>
              </a:rPr>
              <a:t> </a:t>
            </a:r>
            <a:endParaRPr lang="ko-KR" altLang="en-US" sz="3200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A9EDDF-6611-4AB1-A273-10BE87E02A15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8" name="Picture 4" descr="바야흐로 꽃의 계절, 꽃 보관 꿀팁 | 보통 스토리">
            <a:extLst>
              <a:ext uri="{FF2B5EF4-FFF2-40B4-BE49-F238E27FC236}">
                <a16:creationId xmlns:a16="http://schemas.microsoft.com/office/drawing/2014/main" id="{CB8A5BC9-A782-4302-A567-17029D600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225" y="656494"/>
            <a:ext cx="9560815" cy="599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716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heme/theme1.xml><?xml version="1.0" encoding="utf-8"?>
<a:theme xmlns:a="http://schemas.openxmlformats.org/drawingml/2006/main" name="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ew_Simple01">
  <a:themeElements>
    <a:clrScheme name="New_Simple01">
      <a:dk1>
        <a:sysClr val="windowText" lastClr="000000"/>
      </a:dk1>
      <a:lt1>
        <a:sysClr val="window" lastClr="FFFFFF"/>
      </a:lt1>
      <a:dk2>
        <a:srgbClr val="562B71"/>
      </a:dk2>
      <a:lt2>
        <a:srgbClr val="DFF0F7"/>
      </a:lt2>
      <a:accent1>
        <a:srgbClr val="6BA2DF"/>
      </a:accent1>
      <a:accent2>
        <a:srgbClr val="C0504D"/>
      </a:accent2>
      <a:accent3>
        <a:srgbClr val="9BBB59"/>
      </a:accent3>
      <a:accent4>
        <a:srgbClr val="8064A2"/>
      </a:accent4>
      <a:accent5>
        <a:srgbClr val="AA5E74"/>
      </a:accent5>
      <a:accent6>
        <a:srgbClr val="EF9031"/>
      </a:accent6>
      <a:hlink>
        <a:srgbClr val="FF0000"/>
      </a:hlink>
      <a:folHlink>
        <a:srgbClr val="92D050"/>
      </a:folHlink>
    </a:clrScheme>
    <a:fontScheme name="New_Simple01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맑은 고딕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맑은 고딕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New_Simple01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hade val="100000"/>
                <a:satMod val="165000"/>
              </a:schemeClr>
            </a:gs>
            <a:gs pos="55000">
              <a:schemeClr val="phClr">
                <a:tint val="83000"/>
                <a:shade val="100000"/>
                <a:satMod val="155000"/>
              </a:schemeClr>
            </a:gs>
            <a:gs pos="100000">
              <a:schemeClr val="phClr">
                <a:shade val="85000"/>
                <a:satMod val="100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20040000"/>
            </a:lightRig>
          </a:scene3d>
          <a:sp3d contourW="12700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hueMod val="105000"/>
                <a:satMod val="250000"/>
              </a:schemeClr>
            </a:gs>
            <a:gs pos="100000">
              <a:schemeClr val="phClr">
                <a:tint val="95000"/>
                <a:shade val="100000"/>
                <a:satMod val="200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4000"/>
                <a:satMod val="200000"/>
              </a:schemeClr>
            </a:gs>
            <a:gs pos="100000">
              <a:schemeClr val="phClr">
                <a:shade val="70000"/>
                <a:satMod val="200000"/>
              </a:schemeClr>
            </a:gs>
          </a:gsLst>
          <a:path path="circle">
            <a:fillToRect l="40000" r="40000" b="6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892315[[fn=줄기]]</Template>
  <TotalTime>30882</TotalTime>
  <Words>415</Words>
  <Application>Microsoft Office PowerPoint</Application>
  <PresentationFormat>와이드스크린</PresentationFormat>
  <Paragraphs>159</Paragraphs>
  <Slides>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14</vt:i4>
      </vt:variant>
      <vt:variant>
        <vt:lpstr>테마</vt:lpstr>
      </vt:variant>
      <vt:variant>
        <vt:i4>4</vt:i4>
      </vt:variant>
      <vt:variant>
        <vt:lpstr>슬라이드 제목</vt:lpstr>
      </vt:variant>
      <vt:variant>
        <vt:i4>8</vt:i4>
      </vt:variant>
    </vt:vector>
  </HeadingPairs>
  <TitlesOfParts>
    <vt:vector size="26" baseType="lpstr">
      <vt:lpstr>Arial Unicode MS</vt:lpstr>
      <vt:lpstr>HY견명조</vt:lpstr>
      <vt:lpstr>HY헤드라인M</vt:lpstr>
      <vt:lpstr>KoPub돋움체 Bold</vt:lpstr>
      <vt:lpstr>KoPub돋움체 Medium</vt:lpstr>
      <vt:lpstr>Rix모던고딕 B</vt:lpstr>
      <vt:lpstr>맑은 고딕</vt:lpstr>
      <vt:lpstr>Arial</vt:lpstr>
      <vt:lpstr>Calibri</vt:lpstr>
      <vt:lpstr>Calibri Light</vt:lpstr>
      <vt:lpstr>Tw Cen MT</vt:lpstr>
      <vt:lpstr>Wingdings</vt:lpstr>
      <vt:lpstr>Wingdings 2</vt:lpstr>
      <vt:lpstr>Wingdings 3</vt:lpstr>
      <vt:lpstr>HDOfficeLightV0</vt:lpstr>
      <vt:lpstr>New_Simple01</vt:lpstr>
      <vt:lpstr>1_HDOfficeLightV0</vt:lpstr>
      <vt:lpstr>기본</vt:lpstr>
      <vt:lpstr>PWM_Fan_Controller_F429ZI</vt:lpstr>
      <vt:lpstr>**</vt:lpstr>
      <vt:lpstr>**</vt:lpstr>
      <vt:lpstr>**</vt:lpstr>
      <vt:lpstr>**</vt:lpstr>
      <vt:lpstr>**</vt:lpstr>
      <vt:lpstr>PowerPoint 프레젠테이션</vt:lpstr>
      <vt:lpstr> </vt:lpstr>
    </vt:vector>
  </TitlesOfParts>
  <Company>Jini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m32f 103</dc:title>
  <dc:creator>Jin</dc:creator>
  <cp:lastModifiedBy>Hwang Bradly</cp:lastModifiedBy>
  <cp:revision>3149</cp:revision>
  <cp:lastPrinted>2024-07-09T08:18:32Z</cp:lastPrinted>
  <dcterms:created xsi:type="dcterms:W3CDTF">2021-03-18T08:14:47Z</dcterms:created>
  <dcterms:modified xsi:type="dcterms:W3CDTF">2024-11-27T06:56:12Z</dcterms:modified>
</cp:coreProperties>
</file>